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0" r:id="rId1"/>
  </p:sldMasterIdLst>
  <p:sldIdLst>
    <p:sldId id="266" r:id="rId2"/>
    <p:sldId id="302" r:id="rId3"/>
    <p:sldId id="259" r:id="rId4"/>
    <p:sldId id="267" r:id="rId5"/>
    <p:sldId id="290" r:id="rId6"/>
    <p:sldId id="311" r:id="rId7"/>
    <p:sldId id="296" r:id="rId8"/>
    <p:sldId id="299" r:id="rId9"/>
    <p:sldId id="298" r:id="rId10"/>
    <p:sldId id="310" r:id="rId11"/>
    <p:sldId id="288" r:id="rId12"/>
    <p:sldId id="301" r:id="rId13"/>
    <p:sldId id="291" r:id="rId14"/>
    <p:sldId id="287" r:id="rId15"/>
    <p:sldId id="292" r:id="rId16"/>
    <p:sldId id="294" r:id="rId17"/>
    <p:sldId id="303" r:id="rId18"/>
    <p:sldId id="308" r:id="rId19"/>
    <p:sldId id="297" r:id="rId20"/>
    <p:sldId id="305" r:id="rId21"/>
    <p:sldId id="293" r:id="rId22"/>
    <p:sldId id="282" r:id="rId23"/>
    <p:sldId id="286" r:id="rId24"/>
  </p:sldIdLst>
  <p:sldSz cx="12192000" cy="6858000"/>
  <p:notesSz cx="6858000" cy="9144000"/>
  <p:embeddedFontLst>
    <p:embeddedFont>
      <p:font typeface="Calibri" panose="020F0502020204030204" pitchFamily="34" charset="0"/>
      <p:regular r:id="rId25"/>
      <p:bold r:id="rId26"/>
      <p:italic r:id="rId27"/>
      <p:boldItalic r:id="rId28"/>
    </p:embeddedFont>
    <p:embeddedFont>
      <p:font typeface="COOP" panose="02010504010101010104" pitchFamily="2" charset="0"/>
      <p:regular r:id="rId29"/>
      <p:bold r:id="rId30"/>
    </p:embeddedFont>
    <p:embeddedFont>
      <p:font typeface="COOP Light" panose="02010404010101010104" pitchFamily="2" charset="0"/>
      <p:regular r:id="rId31"/>
    </p:embeddedFont>
  </p:embeddedFontLst>
  <p:custDataLst>
    <p:tags r:id="rId3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11111111-1111-1111-1111-111111111111}">
  <a:tblStyle styleId="{11111111-1111-1111-1111-111111111111}" styleName="Coop Table Style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82" autoAdjust="0"/>
    <p:restoredTop sz="94654"/>
  </p:normalViewPr>
  <p:slideViewPr>
    <p:cSldViewPr snapToGrid="0" snapToObjects="1" showGuides="1">
      <p:cViewPr varScale="1">
        <p:scale>
          <a:sx n="82" d="100"/>
          <a:sy n="82" d="100"/>
        </p:scale>
        <p:origin x="643" y="6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font" Target="fonts/font2.fntdata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font" Target="fonts/font1.fntdata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font" Target="fonts/font4.fntdata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font" Target="fonts/font7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font" Target="fonts/font3.fntdata"/><Relationship Id="rId30" Type="http://schemas.openxmlformats.org/officeDocument/2006/relationships/font" Target="fonts/font6.fntdata"/><Relationship Id="rId35" Type="http://schemas.openxmlformats.org/officeDocument/2006/relationships/theme" Target="theme/theme1.xml"/><Relationship Id="rId8" Type="http://schemas.openxmlformats.org/officeDocument/2006/relationships/slide" Target="slides/slide7.xml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svg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rs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2455E6A-FDCB-4AB5-8C7B-8E5FB1C60AF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2741906"/>
            <a:ext cx="8064500" cy="1666875"/>
          </a:xfrm>
        </p:spPr>
        <p:txBody>
          <a:bodyPr anchor="b" anchorCtr="0">
            <a:normAutofit/>
          </a:bodyPr>
          <a:lstStyle>
            <a:lvl1pPr algn="l">
              <a:defRPr sz="6000" b="1" i="0">
                <a:solidFill>
                  <a:schemeClr val="bg1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Overskrift</a:t>
            </a:r>
            <a:endParaRPr lang="da-DK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24DC769-86A6-4CAF-A8AC-DC2072FEE67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4573881"/>
            <a:ext cx="806450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  <a:endParaRPr lang="da-DK" dirty="0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50E46EF-8318-D841-B303-A501C0EBEEEB}"/>
              </a:ext>
            </a:extLst>
          </p:cNvPr>
          <p:cNvSpPr/>
          <p:nvPr/>
        </p:nvSpPr>
        <p:spPr>
          <a:xfrm>
            <a:off x="442913" y="476250"/>
            <a:ext cx="11306175" cy="5905500"/>
          </a:xfrm>
          <a:prstGeom prst="rect">
            <a:avLst/>
          </a:prstGeom>
          <a:noFill/>
          <a:ln w="76200">
            <a:solidFill>
              <a:schemeClr val="bg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9CA69907-E7E6-1F44-B563-60C092DAA1D4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53369" y="6554968"/>
            <a:ext cx="685262" cy="196831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6578857-0B14-784A-ACC7-14EB958D0280}"/>
              </a:ext>
            </a:extLst>
          </p:cNvPr>
          <p:cNvSpPr txBox="1"/>
          <p:nvPr/>
        </p:nvSpPr>
        <p:spPr>
          <a:xfrm>
            <a:off x="12370682" y="2043795"/>
            <a:ext cx="281978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000" b="1" dirty="0">
                <a:latin typeface="+mj-lt"/>
              </a:rPr>
              <a:t>Skift billede:</a:t>
            </a:r>
          </a:p>
          <a:p>
            <a:pPr algn="l"/>
            <a:r>
              <a:rPr lang="da-DK" sz="1000" dirty="0">
                <a:latin typeface="+mj-lt"/>
              </a:rPr>
              <a:t>Højre klik uden for format</a:t>
            </a:r>
          </a:p>
          <a:p>
            <a:pPr algn="l"/>
            <a:r>
              <a:rPr lang="da-DK" sz="1000" dirty="0">
                <a:latin typeface="+mj-lt"/>
              </a:rPr>
              <a:t>Klik på formatér baggrund</a:t>
            </a:r>
          </a:p>
          <a:p>
            <a:pPr algn="l"/>
            <a:r>
              <a:rPr lang="da-DK" sz="1000" dirty="0">
                <a:latin typeface="+mj-lt"/>
              </a:rPr>
              <a:t>Klik på indsæt fra fil og indsæt dit billede</a:t>
            </a:r>
          </a:p>
        </p:txBody>
      </p:sp>
    </p:spTree>
    <p:extLst>
      <p:ext uri="{BB962C8B-B14F-4D97-AF65-F5344CB8AC3E}">
        <p14:creationId xmlns:p14="http://schemas.microsoft.com/office/powerpoint/2010/main" val="303602921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t billede + tekst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4B3626-E8FA-A044-941D-8AF247EF9374}"/>
              </a:ext>
            </a:extLst>
          </p:cNvPr>
          <p:cNvSpPr/>
          <p:nvPr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53952B9-1C72-8F46-9F39-BA96599DC7C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42800" y="476250"/>
            <a:ext cx="5525037" cy="5905500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AD9A91F-F857-E949-B736-08662F19A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0463" y="728663"/>
            <a:ext cx="5243513" cy="85314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A243FB3-7261-E747-80E1-46655D5EA1C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90241C1-646C-674A-9531-15E400A51A2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E37E0AC-29F4-124A-9728-7AF29FABEE2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53162" y="1841500"/>
            <a:ext cx="5243513" cy="4287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545920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+ stort billede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4B3626-E8FA-A044-941D-8AF247EF9374}"/>
              </a:ext>
            </a:extLst>
          </p:cNvPr>
          <p:cNvSpPr/>
          <p:nvPr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53952B9-1C72-8F46-9F39-BA96599DC7C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40462" y="476250"/>
            <a:ext cx="5508625" cy="5905500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AD9A91F-F857-E949-B736-08662F19A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387" y="728663"/>
            <a:ext cx="5243513" cy="853141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8346AC0-47A1-364C-BDC3-C6E7EA288D34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0221BC8-6847-0D48-9B54-E00E2A246B6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0044549C-8CC0-3C4E-A32E-A2B6521EFB3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08025" y="1841500"/>
            <a:ext cx="5243513" cy="4287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66168463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+ stort billede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4B3626-E8FA-A044-941D-8AF247EF9374}"/>
              </a:ext>
            </a:extLst>
          </p:cNvPr>
          <p:cNvSpPr/>
          <p:nvPr/>
        </p:nvSpPr>
        <p:spPr>
          <a:xfrm>
            <a:off x="442913" y="476250"/>
            <a:ext cx="11053762" cy="5905500"/>
          </a:xfrm>
          <a:prstGeom prst="rect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53952B9-1C72-8F46-9F39-BA96599DC7C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240462" y="476250"/>
            <a:ext cx="5508625" cy="5905500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AD9A91F-F857-E949-B736-08662F19A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387" y="728663"/>
            <a:ext cx="5243513" cy="8531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7034576-A2D1-D64D-BD25-D73CE12D85DC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1450E80-45DF-2348-925A-104AD0B00C67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2DB71F83-322B-734C-928C-BE96EF528FC6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08025" y="1841500"/>
            <a:ext cx="5243513" cy="4287838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9684238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ort billede + tekst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A14B3626-E8FA-A044-941D-8AF247EF9374}"/>
              </a:ext>
            </a:extLst>
          </p:cNvPr>
          <p:cNvSpPr/>
          <p:nvPr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53952B9-1C72-8F46-9F39-BA96599DC7C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42801" y="476250"/>
            <a:ext cx="5508738" cy="5905500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AD9A91F-F857-E949-B736-08662F19A3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40463" y="728663"/>
            <a:ext cx="5243513" cy="85314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AEA9F2B4-2BBA-ED43-9FBC-52072524E76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700BD9A-01B7-9D40-B8F7-A98CE6832A9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723C2602-E37E-0046-8908-9631895DFF2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53162" y="1841500"/>
            <a:ext cx="5243513" cy="42878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58836609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+ lille billede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0C543FD-6493-F245-B9B0-A2917DF7875A}"/>
              </a:ext>
            </a:extLst>
          </p:cNvPr>
          <p:cNvSpPr/>
          <p:nvPr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2E1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53952B9-1C72-8F46-9F39-BA96599DC7C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012238" y="476250"/>
            <a:ext cx="2736849" cy="5905500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CCA5324-0DF1-2641-893F-0BA28F4780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5906815-8110-E544-BF85-EDC297D40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C175E98-4CEF-9F49-84B1-D6ED113F8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387" y="728663"/>
            <a:ext cx="8051801" cy="853141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84DDFC92-6584-2940-961D-743344AF936D}"/>
              </a:ext>
            </a:extLst>
          </p:cNvPr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</p:spTree>
    <p:extLst>
      <p:ext uri="{BB962C8B-B14F-4D97-AF65-F5344CB8AC3E}">
        <p14:creationId xmlns:p14="http://schemas.microsoft.com/office/powerpoint/2010/main" val="2632517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ille billede + tekst grø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C0C543FD-6493-F245-B9B0-A2917DF7875A}"/>
              </a:ext>
            </a:extLst>
          </p:cNvPr>
          <p:cNvSpPr/>
          <p:nvPr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2E1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53952B9-1C72-8F46-9F39-BA96599DC7C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42912" y="476250"/>
            <a:ext cx="2794002" cy="5905500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0CCA5324-0DF1-2641-893F-0BA28F4780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85906815-8110-E544-BF85-EDC297D401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1C175E98-4CEF-9F49-84B1-D6ED113F8B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67100" y="728663"/>
            <a:ext cx="8051801" cy="853141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1E017831-3F63-F345-877A-EDC08A5C9DD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67101" y="1581804"/>
            <a:ext cx="8016876" cy="4547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5678413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side grøn + små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F87E191-873D-3C40-A883-357DE79D4FE7}"/>
              </a:ext>
            </a:extLst>
          </p:cNvPr>
          <p:cNvSpPr/>
          <p:nvPr/>
        </p:nvSpPr>
        <p:spPr>
          <a:xfrm>
            <a:off x="442913" y="476250"/>
            <a:ext cx="11306175" cy="5905500"/>
          </a:xfrm>
          <a:prstGeom prst="rect">
            <a:avLst/>
          </a:prstGeom>
          <a:solidFill>
            <a:srgbClr val="D2E1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D4D132C-BDA1-48F8-800F-20E58003602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15" name="Text Placeholder 12">
            <a:extLst>
              <a:ext uri="{FF2B5EF4-FFF2-40B4-BE49-F238E27FC236}">
                <a16:creationId xmlns:a16="http://schemas.microsoft.com/office/drawing/2014/main" id="{A4DF24A5-C042-4C42-8940-69B5F87BC0D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40462" y="2087320"/>
            <a:ext cx="5244149" cy="828000"/>
          </a:xfrm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5B128ECD-4B46-C44B-8C8A-C62060ECF6AD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467100" y="2087971"/>
            <a:ext cx="2484438" cy="828000"/>
          </a:xfrm>
          <a:solidFill>
            <a:schemeClr val="bg1"/>
          </a:solid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9" name="Text Placeholder 12">
            <a:extLst>
              <a:ext uri="{FF2B5EF4-FFF2-40B4-BE49-F238E27FC236}">
                <a16:creationId xmlns:a16="http://schemas.microsoft.com/office/drawing/2014/main" id="{16EA4182-54F0-4440-9082-F49341002A9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240462" y="3173659"/>
            <a:ext cx="5244149" cy="828000"/>
          </a:xfrm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1" name="Picture Placeholder 3">
            <a:extLst>
              <a:ext uri="{FF2B5EF4-FFF2-40B4-BE49-F238E27FC236}">
                <a16:creationId xmlns:a16="http://schemas.microsoft.com/office/drawing/2014/main" id="{E3234246-2F2A-4C4D-BFA9-0F537CE78A9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467100" y="3174310"/>
            <a:ext cx="2484438" cy="828000"/>
          </a:xfrm>
          <a:solidFill>
            <a:schemeClr val="bg1"/>
          </a:solid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12" name="Text Placeholder 12">
            <a:extLst>
              <a:ext uri="{FF2B5EF4-FFF2-40B4-BE49-F238E27FC236}">
                <a16:creationId xmlns:a16="http://schemas.microsoft.com/office/drawing/2014/main" id="{41177F9C-D94F-3342-BAD8-E6B6EEE0659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240462" y="4259998"/>
            <a:ext cx="5244149" cy="828000"/>
          </a:xfrm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6093F2B7-813E-8747-8986-7128E8F563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467100" y="4260649"/>
            <a:ext cx="2484438" cy="828000"/>
          </a:xfrm>
          <a:solidFill>
            <a:schemeClr val="bg1"/>
          </a:solid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C83A4BE-80AD-B448-9616-C0D2322478F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AFEC647-C6E2-764E-AB20-4E8FB499521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2212277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ekst + små billeder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18954227-A4A7-9A43-88DD-C759316763BB}"/>
              </a:ext>
            </a:extLst>
          </p:cNvPr>
          <p:cNvSpPr/>
          <p:nvPr/>
        </p:nvSpPr>
        <p:spPr>
          <a:xfrm>
            <a:off x="442913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Title 3">
            <a:extLst>
              <a:ext uri="{FF2B5EF4-FFF2-40B4-BE49-F238E27FC236}">
                <a16:creationId xmlns:a16="http://schemas.microsoft.com/office/drawing/2014/main" id="{4DA85AA4-E52C-D142-B49C-C54B18F584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387" y="728663"/>
            <a:ext cx="5243513" cy="853141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AA06630D-7543-0E42-A6DF-9985F8F0081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214663" y="728663"/>
            <a:ext cx="4313222" cy="1704024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FA7BB53E-4775-F048-A6AD-D4E27900EA80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214663" y="2565000"/>
            <a:ext cx="2080800" cy="1704024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10AF4A6-10F2-2549-9E99-3AB9C2E6D81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14663" y="4401339"/>
            <a:ext cx="2804999" cy="1728000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90011F49-0677-8B48-B3CF-E6678BD0469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10151975" y="4401338"/>
            <a:ext cx="1332000" cy="1728000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D190917B-D52D-5E41-9AC9-73C2FAFA1D58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427776" y="2565000"/>
            <a:ext cx="2080800" cy="1704024"/>
          </a:xfrm>
          <a:solidFill>
            <a:schemeClr val="bg1">
              <a:lumMod val="65000"/>
            </a:schemeClr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8" name="Footer Placeholder 17">
            <a:extLst>
              <a:ext uri="{FF2B5EF4-FFF2-40B4-BE49-F238E27FC236}">
                <a16:creationId xmlns:a16="http://schemas.microsoft.com/office/drawing/2014/main" id="{09BDCF3E-32E6-1549-A5AD-A955EB5DF67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9" name="Slide Number Placeholder 18">
            <a:extLst>
              <a:ext uri="{FF2B5EF4-FFF2-40B4-BE49-F238E27FC236}">
                <a16:creationId xmlns:a16="http://schemas.microsoft.com/office/drawing/2014/main" id="{44CF9ED6-C811-5D46-BCCE-3CA7A294478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B427C48D-955A-9547-9410-39333F4D024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08025" y="1841500"/>
            <a:ext cx="5243513" cy="42878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8722704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+ små bille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9FBC2466-C351-6F41-822D-3C7A2BDE0F5B}"/>
              </a:ext>
            </a:extLst>
          </p:cNvPr>
          <p:cNvSpPr/>
          <p:nvPr/>
        </p:nvSpPr>
        <p:spPr>
          <a:xfrm>
            <a:off x="442913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" name="Picture Placeholder 3">
            <a:extLst>
              <a:ext uri="{FF2B5EF4-FFF2-40B4-BE49-F238E27FC236}">
                <a16:creationId xmlns:a16="http://schemas.microsoft.com/office/drawing/2014/main" id="{472D6E94-B671-C44F-9570-58C2551ADD9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5325" y="1869140"/>
            <a:ext cx="1584325" cy="1260000"/>
          </a:xfrm>
          <a:solidFill>
            <a:schemeClr val="bg1"/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D3309F70-BF39-9E4F-B5DA-B6D423041EE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240463" y="1869140"/>
            <a:ext cx="1578875" cy="1260000"/>
          </a:xfrm>
          <a:solidFill>
            <a:schemeClr val="bg1"/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56A8940-759C-AC48-9CF8-563AFF5B23C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7600" y="1868488"/>
            <a:ext cx="3563938" cy="1260000"/>
          </a:xfrm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24D7ADF8-24E1-B74F-8B01-78781C93DA0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44444" y="1868488"/>
            <a:ext cx="3540168" cy="1260000"/>
          </a:xfrm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E7C37B05-FCB5-4945-9593-E47433B0097F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95325" y="3795662"/>
            <a:ext cx="1584325" cy="1260000"/>
          </a:xfrm>
          <a:solidFill>
            <a:schemeClr val="bg1"/>
          </a:solid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15AE28A9-6269-6E4F-8F92-2550BD01273A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40463" y="3795662"/>
            <a:ext cx="1578875" cy="1260000"/>
          </a:xfrm>
          <a:solidFill>
            <a:schemeClr val="bg1"/>
          </a:solid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516FCAF1-EB5D-9042-A075-963AA12B3C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387600" y="3795010"/>
            <a:ext cx="3563938" cy="1260000"/>
          </a:xfrm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80006B0-68FC-F842-B106-CE9808691A4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944444" y="3795010"/>
            <a:ext cx="3540168" cy="1260000"/>
          </a:xfrm>
        </p:spPr>
        <p:txBody>
          <a:bodyPr anchor="ctr" anchorCtr="0"/>
          <a:lstStyle>
            <a:lvl1pPr marL="0" indent="0">
              <a:buNone/>
              <a:defRPr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0" indent="0">
              <a:buFont typeface="Arial" panose="020B0604020202020204" pitchFamily="34" charset="0"/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2C0CDD-E4C2-8A44-9123-F8A2E6DB15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8BE3A34-178C-AC47-A92A-DE1A969D3EC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AC7524-BF7E-B94B-9EE7-911A035B6208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4363551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ledside 6 stk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1B9173B-3373-934F-9F99-F3D990AFB2C6}"/>
              </a:ext>
            </a:extLst>
          </p:cNvPr>
          <p:cNvSpPr/>
          <p:nvPr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2E1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2D68093-DFD8-DF49-9E68-1D337E24EEB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7387" y="1581804"/>
            <a:ext cx="2520950" cy="1260000"/>
          </a:xfrm>
          <a:solidFill>
            <a:schemeClr val="bg1"/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EF5645B-3D4E-AE42-80C1-FBD1A850B6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7388" y="293623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26F7A2-CDF9-7D41-8F43-1EF10BF89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844981-1A61-7246-A6E8-0B10FEA38C7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947A67-CF8B-564A-9F0B-75ECE0A38B7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DEAD1EA2-36EF-EB4F-843E-58E125AB79F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07387" y="3814394"/>
            <a:ext cx="2520950" cy="1260000"/>
          </a:xfrm>
          <a:solidFill>
            <a:schemeClr val="bg1"/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4ED1254F-6808-4245-B4F0-B9CF6D0A000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7388" y="516882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9" name="Picture Placeholder 3">
            <a:extLst>
              <a:ext uri="{FF2B5EF4-FFF2-40B4-BE49-F238E27FC236}">
                <a16:creationId xmlns:a16="http://schemas.microsoft.com/office/drawing/2014/main" id="{D1F452BF-FBF4-154A-9AE2-52C438A8041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467100" y="1581804"/>
            <a:ext cx="2520950" cy="1260000"/>
          </a:xfrm>
          <a:solidFill>
            <a:schemeClr val="bg1"/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1F874FC4-C8E8-A34D-A00A-031D2ADF0A1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67101" y="293623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57EBB200-ECC7-9641-86C4-86660F3E31A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467100" y="3814394"/>
            <a:ext cx="2520950" cy="1260000"/>
          </a:xfrm>
          <a:solidFill>
            <a:schemeClr val="bg1"/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0CC41086-9437-9840-A523-E2C0CF21ABA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467101" y="516882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3" name="Picture Placeholder 3">
            <a:extLst>
              <a:ext uri="{FF2B5EF4-FFF2-40B4-BE49-F238E27FC236}">
                <a16:creationId xmlns:a16="http://schemas.microsoft.com/office/drawing/2014/main" id="{6048C4AF-EC3A-EF40-B3C9-74F2BD765959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26813" y="1581804"/>
            <a:ext cx="2520950" cy="1260000"/>
          </a:xfrm>
          <a:solidFill>
            <a:schemeClr val="bg1"/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57D291AE-105F-D94A-9D15-B4265EB9E76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26814" y="293623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5" name="Picture Placeholder 3">
            <a:extLst>
              <a:ext uri="{FF2B5EF4-FFF2-40B4-BE49-F238E27FC236}">
                <a16:creationId xmlns:a16="http://schemas.microsoft.com/office/drawing/2014/main" id="{74081152-C278-A844-8465-D9EECE8672B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226813" y="3814394"/>
            <a:ext cx="2520950" cy="1260000"/>
          </a:xfrm>
          <a:solidFill>
            <a:schemeClr val="bg1"/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3D9D1CA7-87BC-BF4F-9E26-BC9BE87154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26814" y="516882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15707974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rø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50E46EF-8318-D841-B303-A501C0EBEEEB}"/>
              </a:ext>
            </a:extLst>
          </p:cNvPr>
          <p:cNvSpPr/>
          <p:nvPr/>
        </p:nvSpPr>
        <p:spPr>
          <a:xfrm>
            <a:off x="442913" y="476250"/>
            <a:ext cx="11306175" cy="5905500"/>
          </a:xfrm>
          <a:prstGeom prst="rect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47D99E0C-9DDD-C548-8974-EB6B9028E3E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2235469"/>
            <a:ext cx="8064500" cy="1666875"/>
          </a:xfrm>
        </p:spPr>
        <p:txBody>
          <a:bodyPr anchor="b" anchorCtr="0">
            <a:normAutofit/>
          </a:bodyPr>
          <a:lstStyle>
            <a:lvl1pPr algn="l">
              <a:defRPr sz="6000" b="1" i="0">
                <a:solidFill>
                  <a:schemeClr val="bg1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Overskrift</a:t>
            </a:r>
            <a:endParaRPr lang="da-DK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1C9B0C79-818E-3D49-B8D7-5DF32C530EE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4067444"/>
            <a:ext cx="806450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  <a:endParaRPr lang="da-DK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DFA1125-79F9-4C45-A8E1-709E753CDB8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204F720-23EC-F84C-93B3-87F966FCCF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353257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ledside 8 stk.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71B9173B-3373-934F-9F99-F3D990AFB2C6}"/>
              </a:ext>
            </a:extLst>
          </p:cNvPr>
          <p:cNvSpPr/>
          <p:nvPr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2E1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82D68093-DFD8-DF49-9E68-1D337E24EEB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07387" y="1581804"/>
            <a:ext cx="2520950" cy="1260000"/>
          </a:xfrm>
          <a:solidFill>
            <a:schemeClr val="bg1"/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EF5645B-3D4E-AE42-80C1-FBD1A850B6A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07388" y="293623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726F7A2-CDF9-7D41-8F43-1EF10BF89E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844981-1A61-7246-A6E8-0B10FEA38C78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B947A67-CF8B-564A-9F0B-75ECE0A38B7C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  <p:sp>
        <p:nvSpPr>
          <p:cNvPr id="30" name="Picture Placeholder 3">
            <a:extLst>
              <a:ext uri="{FF2B5EF4-FFF2-40B4-BE49-F238E27FC236}">
                <a16:creationId xmlns:a16="http://schemas.microsoft.com/office/drawing/2014/main" id="{DEAD1EA2-36EF-EB4F-843E-58E125AB79F3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707387" y="3814394"/>
            <a:ext cx="2520950" cy="1260000"/>
          </a:xfrm>
          <a:solidFill>
            <a:schemeClr val="bg1"/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4ED1254F-6808-4245-B4F0-B9CF6D0A000D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707388" y="516882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39" name="Picture Placeholder 3">
            <a:extLst>
              <a:ext uri="{FF2B5EF4-FFF2-40B4-BE49-F238E27FC236}">
                <a16:creationId xmlns:a16="http://schemas.microsoft.com/office/drawing/2014/main" id="{D1F452BF-FBF4-154A-9AE2-52C438A8041D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467100" y="1581804"/>
            <a:ext cx="2520950" cy="1260000"/>
          </a:xfrm>
          <a:solidFill>
            <a:schemeClr val="bg1"/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40" name="Text Placeholder 7">
            <a:extLst>
              <a:ext uri="{FF2B5EF4-FFF2-40B4-BE49-F238E27FC236}">
                <a16:creationId xmlns:a16="http://schemas.microsoft.com/office/drawing/2014/main" id="{1F874FC4-C8E8-A34D-A00A-031D2ADF0A1A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3467101" y="293623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1" name="Picture Placeholder 3">
            <a:extLst>
              <a:ext uri="{FF2B5EF4-FFF2-40B4-BE49-F238E27FC236}">
                <a16:creationId xmlns:a16="http://schemas.microsoft.com/office/drawing/2014/main" id="{57EBB200-ECC7-9641-86C4-86660F3E31AB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467100" y="3814394"/>
            <a:ext cx="2520950" cy="1260000"/>
          </a:xfrm>
          <a:solidFill>
            <a:schemeClr val="bg1"/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42" name="Text Placeholder 7">
            <a:extLst>
              <a:ext uri="{FF2B5EF4-FFF2-40B4-BE49-F238E27FC236}">
                <a16:creationId xmlns:a16="http://schemas.microsoft.com/office/drawing/2014/main" id="{0CC41086-9437-9840-A523-E2C0CF21ABA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467101" y="516882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3" name="Picture Placeholder 3">
            <a:extLst>
              <a:ext uri="{FF2B5EF4-FFF2-40B4-BE49-F238E27FC236}">
                <a16:creationId xmlns:a16="http://schemas.microsoft.com/office/drawing/2014/main" id="{6048C4AF-EC3A-EF40-B3C9-74F2BD765959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6226813" y="1581804"/>
            <a:ext cx="2520950" cy="1260000"/>
          </a:xfrm>
          <a:solidFill>
            <a:schemeClr val="bg1"/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44" name="Text Placeholder 7">
            <a:extLst>
              <a:ext uri="{FF2B5EF4-FFF2-40B4-BE49-F238E27FC236}">
                <a16:creationId xmlns:a16="http://schemas.microsoft.com/office/drawing/2014/main" id="{57D291AE-105F-D94A-9D15-B4265EB9E76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26814" y="293623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5" name="Picture Placeholder 3">
            <a:extLst>
              <a:ext uri="{FF2B5EF4-FFF2-40B4-BE49-F238E27FC236}">
                <a16:creationId xmlns:a16="http://schemas.microsoft.com/office/drawing/2014/main" id="{74081152-C278-A844-8465-D9EECE8672B4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6226813" y="3814394"/>
            <a:ext cx="2520950" cy="1260000"/>
          </a:xfrm>
          <a:solidFill>
            <a:schemeClr val="bg1"/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46" name="Text Placeholder 7">
            <a:extLst>
              <a:ext uri="{FF2B5EF4-FFF2-40B4-BE49-F238E27FC236}">
                <a16:creationId xmlns:a16="http://schemas.microsoft.com/office/drawing/2014/main" id="{3D9D1CA7-87BC-BF4F-9E26-BC9BE871548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226814" y="516882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7DD00037-4C19-354C-9DF2-75E4FBA4A999}"/>
              </a:ext>
            </a:extLst>
          </p:cNvPr>
          <p:cNvSpPr>
            <a:spLocks noGrp="1"/>
          </p:cNvSpPr>
          <p:nvPr>
            <p:ph type="pic" sz="quarter" idx="34"/>
          </p:nvPr>
        </p:nvSpPr>
        <p:spPr>
          <a:xfrm>
            <a:off x="8986526" y="1581804"/>
            <a:ext cx="2520950" cy="1260000"/>
          </a:xfrm>
          <a:solidFill>
            <a:schemeClr val="bg1"/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8476360D-DE3A-BC4B-A80D-17FEF246622E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8986527" y="293623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0" name="Picture Placeholder 3">
            <a:extLst>
              <a:ext uri="{FF2B5EF4-FFF2-40B4-BE49-F238E27FC236}">
                <a16:creationId xmlns:a16="http://schemas.microsoft.com/office/drawing/2014/main" id="{9FD317D8-FF02-9F4F-BF09-114B090160AD}"/>
              </a:ext>
            </a:extLst>
          </p:cNvPr>
          <p:cNvSpPr>
            <a:spLocks noGrp="1"/>
          </p:cNvSpPr>
          <p:nvPr>
            <p:ph type="pic" sz="quarter" idx="36"/>
          </p:nvPr>
        </p:nvSpPr>
        <p:spPr>
          <a:xfrm>
            <a:off x="8986526" y="3814394"/>
            <a:ext cx="2520950" cy="1260000"/>
          </a:xfrm>
          <a:solidFill>
            <a:schemeClr val="bg1"/>
          </a:solidFill>
        </p:spPr>
        <p:txBody>
          <a:bodyPr/>
          <a:lstStyle/>
          <a:p>
            <a:r>
              <a:rPr lang="da-DK"/>
              <a:t>Klik på ikonet for at tilføje et billede</a:t>
            </a:r>
            <a:endParaRPr lang="da-DK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A6303835-E4A7-6F4C-8416-4BE0B53B2D90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8986527" y="5168823"/>
            <a:ext cx="2520950" cy="758712"/>
          </a:xfrm>
        </p:spPr>
        <p:txBody>
          <a:bodyPr/>
          <a:lstStyle>
            <a:lvl1pPr marL="0" indent="0">
              <a:buNone/>
              <a:defRPr sz="13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28206140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verskrift + beige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4710091-636B-B844-BB41-40CC8B817826}"/>
              </a:ext>
            </a:extLst>
          </p:cNvPr>
          <p:cNvSpPr/>
          <p:nvPr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3E5E53-26FB-C84E-8F7D-6238E3389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591B2E0-A663-D04E-BEC8-F2E9C622213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BF06D1AD-86B6-934B-A52C-4692CD7199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103197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suals + tekst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4710091-636B-B844-BB41-40CC8B817826}"/>
              </a:ext>
            </a:extLst>
          </p:cNvPr>
          <p:cNvSpPr/>
          <p:nvPr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3E5E53-26FB-C84E-8F7D-6238E3389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9A5870E-98D5-8146-B0C4-20630FAD6F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01479B7-718F-4445-A5D3-16876398639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  <p:sp>
        <p:nvSpPr>
          <p:cNvPr id="11" name="Content Placeholder 9">
            <a:extLst>
              <a:ext uri="{FF2B5EF4-FFF2-40B4-BE49-F238E27FC236}">
                <a16:creationId xmlns:a16="http://schemas.microsoft.com/office/drawing/2014/main" id="{79614527-5D80-4346-BEB8-5826F4623FA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708025" y="1581804"/>
            <a:ext cx="5243513" cy="4547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Visual</a:t>
            </a:r>
            <a:endParaRPr lang="da-DK" dirty="0"/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4B52061D-3254-6947-A8F2-6FA65049A46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53162" y="1581804"/>
            <a:ext cx="5243513" cy="4547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85839307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sektioner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4710091-636B-B844-BB41-40CC8B817826}"/>
              </a:ext>
            </a:extLst>
          </p:cNvPr>
          <p:cNvSpPr/>
          <p:nvPr/>
        </p:nvSpPr>
        <p:spPr>
          <a:xfrm>
            <a:off x="442912" y="489502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3E5E53-26FB-C84E-8F7D-6238E3389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29F070C-6DE2-9348-98FE-F6D1D0AB984C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708025" y="1581150"/>
            <a:ext cx="5243513" cy="211170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4134C715-3928-4F49-989D-94BD425FB5C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708025" y="4017637"/>
            <a:ext cx="5243513" cy="211170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79D89141-4624-3B4F-B86A-6D591F161DC2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6240462" y="1581150"/>
            <a:ext cx="5243513" cy="211170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2" name="Content Placeholder 3">
            <a:extLst>
              <a:ext uri="{FF2B5EF4-FFF2-40B4-BE49-F238E27FC236}">
                <a16:creationId xmlns:a16="http://schemas.microsoft.com/office/drawing/2014/main" id="{826D4B8B-3C4A-0A40-BE25-9132E8F20925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240463" y="4017637"/>
            <a:ext cx="5243512" cy="2111701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EC727FF5-5E9F-C248-A831-E869965C49C5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8FEB1A8B-A59D-AD48-B756-2CE1C5F09405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822434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billeder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4710091-636B-B844-BB41-40CC8B817826}"/>
              </a:ext>
            </a:extLst>
          </p:cNvPr>
          <p:cNvSpPr/>
          <p:nvPr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3E5E53-26FB-C84E-8F7D-6238E3389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C312103-29BD-CE43-9062-875A365C395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95325" y="1581804"/>
            <a:ext cx="5256213" cy="4547534"/>
          </a:xfrm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8" name="Picture Placeholder 6">
            <a:extLst>
              <a:ext uri="{FF2B5EF4-FFF2-40B4-BE49-F238E27FC236}">
                <a16:creationId xmlns:a16="http://schemas.microsoft.com/office/drawing/2014/main" id="{6CD8D0A6-8CC3-7D4D-B0D3-5F7B10C0178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6240464" y="1581804"/>
            <a:ext cx="5376385" cy="4547534"/>
          </a:xfrm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54112EA1-DFD4-BF45-8C34-AC1FA43B4E4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5506EA84-BF2D-2741-B275-55D73FE3E59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8287339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med tekst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4710091-636B-B844-BB41-40CC8B817826}"/>
              </a:ext>
            </a:extLst>
          </p:cNvPr>
          <p:cNvSpPr/>
          <p:nvPr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3E5E53-26FB-C84E-8F7D-6238E3389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AA77409F-F7B4-464A-BA38-E251D6BBF48B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95325" y="1581804"/>
            <a:ext cx="5256213" cy="4547534"/>
          </a:xfrm>
        </p:spPr>
        <p:txBody>
          <a:bodyPr/>
          <a:lstStyle/>
          <a:p>
            <a:r>
              <a:rPr lang="da-DK"/>
              <a:t>Klik på ikonet for at tilføje et diagram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9A5870E-98D5-8146-B0C4-20630FAD6F71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501479B7-718F-4445-A5D3-16876398639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AAD7B2C5-F069-AF43-9BEA-5A9754BE7707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53162" y="1581804"/>
            <a:ext cx="5243513" cy="4547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84790094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side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4710091-636B-B844-BB41-40CC8B817826}"/>
              </a:ext>
            </a:extLst>
          </p:cNvPr>
          <p:cNvSpPr/>
          <p:nvPr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3E5E53-26FB-C84E-8F7D-6238E3389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4" name="Chart Placeholder 3">
            <a:extLst>
              <a:ext uri="{FF2B5EF4-FFF2-40B4-BE49-F238E27FC236}">
                <a16:creationId xmlns:a16="http://schemas.microsoft.com/office/drawing/2014/main" id="{AA77409F-F7B4-464A-BA38-E251D6BBF48B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95325" y="1581804"/>
            <a:ext cx="10801350" cy="4547534"/>
          </a:xfrm>
        </p:spPr>
        <p:txBody>
          <a:bodyPr/>
          <a:lstStyle/>
          <a:p>
            <a:r>
              <a:rPr lang="da-DK"/>
              <a:t>Klik på ikonet for at tilføje et diagram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E9A45B-F713-3244-871C-CB89DD3847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F60C1C4-CCD9-8846-8489-6FD3278C27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036147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el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4710091-636B-B844-BB41-40CC8B817826}"/>
              </a:ext>
            </a:extLst>
          </p:cNvPr>
          <p:cNvSpPr/>
          <p:nvPr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3E5E53-26FB-C84E-8F7D-6238E3389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6D9E86B7-2CD2-284F-80E5-11A93B20929D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63ACBED1-8D9B-084E-B055-D2B1C07E10A0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  <p:sp>
        <p:nvSpPr>
          <p:cNvPr id="10" name="Table Placeholder 9">
            <a:extLst>
              <a:ext uri="{FF2B5EF4-FFF2-40B4-BE49-F238E27FC236}">
                <a16:creationId xmlns:a16="http://schemas.microsoft.com/office/drawing/2014/main" id="{BA864874-8701-0542-82ED-E0DCCDD94861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708024" y="1581804"/>
            <a:ext cx="10776587" cy="4547533"/>
          </a:xfrm>
        </p:spPr>
        <p:txBody>
          <a:bodyPr/>
          <a:lstStyle/>
          <a:p>
            <a:r>
              <a:rPr lang="da-DK"/>
              <a:t>Klik på ikonet for at tilføje en tabel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6086734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del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F8DE1D4-B271-EF45-BFF6-61F8F704C0CF}"/>
              </a:ext>
            </a:extLst>
          </p:cNvPr>
          <p:cNvSpPr/>
          <p:nvPr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2A6998B-D2D9-0B4B-839D-4F0EA75DBBB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64800" y="1697226"/>
            <a:ext cx="3862398" cy="3875672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49F326-3A8C-814A-8904-7C855F6A969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58040" y="1109494"/>
            <a:ext cx="2275918" cy="465344"/>
          </a:xfrm>
          <a:ln>
            <a:noFill/>
          </a:ln>
        </p:spPr>
        <p:txBody>
          <a:bodyPr anchor="b" anchorCtr="0"/>
          <a:lstStyle>
            <a:lvl1pPr marL="0" indent="0" algn="ctr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60C682C6-F992-CD4E-9E68-1167429921A2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744119" y="2425963"/>
            <a:ext cx="2275918" cy="465344"/>
          </a:xfrm>
          <a:ln>
            <a:noFill/>
          </a:ln>
        </p:spPr>
        <p:txBody>
          <a:bodyPr anchor="t" anchorCtr="0"/>
          <a:lstStyle>
            <a:lvl1pPr marL="0" indent="0" algn="r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709583AE-91D3-4C47-8D0D-BCC28A05651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744119" y="4378818"/>
            <a:ext cx="2275918" cy="465344"/>
          </a:xfrm>
          <a:ln>
            <a:noFill/>
          </a:ln>
        </p:spPr>
        <p:txBody>
          <a:bodyPr anchor="t" anchorCtr="0"/>
          <a:lstStyle>
            <a:lvl1pPr marL="0" indent="0" algn="r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C657AFA0-73B5-AA4C-A8A3-A1B3366F02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958040" y="5716480"/>
            <a:ext cx="2275918" cy="465344"/>
          </a:xfrm>
          <a:ln>
            <a:noFill/>
          </a:ln>
        </p:spPr>
        <p:txBody>
          <a:bodyPr anchor="t" anchorCtr="0"/>
          <a:lstStyle>
            <a:lvl1pPr marL="0" indent="0" algn="ctr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A786555B-A8E5-7842-8D61-FD7CDF970AD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083005" y="2425963"/>
            <a:ext cx="2275918" cy="465344"/>
          </a:xfrm>
          <a:ln>
            <a:noFill/>
          </a:ln>
        </p:spPr>
        <p:txBody>
          <a:bodyPr anchor="t" anchorCtr="0"/>
          <a:lstStyle>
            <a:lvl1pPr marL="0" indent="0" algn="l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FDC44F88-B496-F244-89D0-A0DCADCCF53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083005" y="4378818"/>
            <a:ext cx="2275918" cy="465344"/>
          </a:xfrm>
          <a:ln>
            <a:noFill/>
          </a:ln>
        </p:spPr>
        <p:txBody>
          <a:bodyPr anchor="t" anchorCtr="0"/>
          <a:lstStyle>
            <a:lvl1pPr marL="0" indent="0" algn="l">
              <a:buNone/>
              <a:defRPr sz="1000"/>
            </a:lvl1pPr>
            <a:lvl2pPr marL="457200" indent="0">
              <a:buNone/>
              <a:defRPr sz="1000"/>
            </a:lvl2pPr>
            <a:lvl3pPr marL="914400" indent="0">
              <a:buNone/>
              <a:defRPr sz="1000"/>
            </a:lvl3pPr>
            <a:lvl4pPr marL="0" indent="0">
              <a:buFont typeface="Arial" panose="020B0604020202020204" pitchFamily="34" charset="0"/>
              <a:buNone/>
              <a:defRPr sz="1000"/>
            </a:lvl4pPr>
            <a:lvl5pPr marL="1828800" indent="0">
              <a:buNone/>
              <a:defRPr sz="1000"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6404ACD-BDE2-8E41-AE84-D4D4ECDEC6D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557951" y="2425963"/>
            <a:ext cx="3048798" cy="2418199"/>
          </a:xfrm>
        </p:spPr>
        <p:txBody>
          <a:bodyPr anchor="ctr" anchorCtr="0"/>
          <a:lstStyle>
            <a:lvl1pPr marL="0" indent="0" algn="ctr">
              <a:buNone/>
              <a:defRPr sz="2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 err="1"/>
              <a:t>Modelnavn</a:t>
            </a:r>
            <a:endParaRPr lang="da-DK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91676C5-4045-A749-8BE9-3394BFCC1DF3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43AC80C-D8D9-5042-A110-1380449A03BC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131F6E74-8A5F-4547-BAD2-FCBF81D8C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18656360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gkage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Graphic 2">
            <a:extLst>
              <a:ext uri="{FF2B5EF4-FFF2-40B4-BE49-F238E27FC236}">
                <a16:creationId xmlns:a16="http://schemas.microsoft.com/office/drawing/2014/main" id="{F6D68204-A31F-6C47-AD19-7091492649C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44700" y="1810977"/>
            <a:ext cx="3902598" cy="3902598"/>
          </a:xfrm>
          <a:prstGeom prst="rect">
            <a:avLst/>
          </a:prstGeom>
        </p:spPr>
      </p:pic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86616447-5DB8-F34D-84B9-726308B9403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240337" y="5055120"/>
            <a:ext cx="1908175" cy="742950"/>
          </a:xfrm>
        </p:spPr>
        <p:txBody>
          <a:bodyPr/>
          <a:lstStyle>
            <a:lvl1pPr marL="0" indent="0" algn="ctr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Text Placeholder 4">
            <a:extLst>
              <a:ext uri="{FF2B5EF4-FFF2-40B4-BE49-F238E27FC236}">
                <a16:creationId xmlns:a16="http://schemas.microsoft.com/office/drawing/2014/main" id="{955C2289-D69C-1B4D-98BA-0967D20FC8F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78326" y="3306330"/>
            <a:ext cx="1613908" cy="742950"/>
          </a:xfrm>
        </p:spPr>
        <p:txBody>
          <a:bodyPr/>
          <a:lstStyle>
            <a:lvl1pPr marL="0" indent="0" algn="ctr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23D8DC9B-0C29-E849-8C09-9E455181276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225860" y="3306330"/>
            <a:ext cx="1670364" cy="742950"/>
          </a:xfrm>
        </p:spPr>
        <p:txBody>
          <a:bodyPr/>
          <a:lstStyle>
            <a:lvl1pPr marL="0" indent="0" algn="ctr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58A19030-CF6D-494B-B033-06E50AA13E1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702809" y="2563398"/>
            <a:ext cx="1188403" cy="742950"/>
          </a:xfrm>
        </p:spPr>
        <p:txBody>
          <a:bodyPr/>
          <a:lstStyle/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12" name="Picture Placeholder 10">
            <a:extLst>
              <a:ext uri="{FF2B5EF4-FFF2-40B4-BE49-F238E27FC236}">
                <a16:creationId xmlns:a16="http://schemas.microsoft.com/office/drawing/2014/main" id="{9C11F710-7CF9-364E-BAAC-B3C2EB2A70DE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337299" y="2563398"/>
            <a:ext cx="1188403" cy="742950"/>
          </a:xfrm>
        </p:spPr>
        <p:txBody>
          <a:bodyPr/>
          <a:lstStyle/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3" name="Picture Placeholder 10">
            <a:extLst>
              <a:ext uri="{FF2B5EF4-FFF2-40B4-BE49-F238E27FC236}">
                <a16:creationId xmlns:a16="http://schemas.microsoft.com/office/drawing/2014/main" id="{815D5CE4-5E2F-934A-AD61-DE1242989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71489" y="4243608"/>
            <a:ext cx="1188403" cy="742950"/>
          </a:xfrm>
        </p:spPr>
        <p:txBody>
          <a:bodyPr/>
          <a:lstStyle/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DB0709D-BD30-1B4F-AFCD-2DE838299931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1F4D026-5952-4042-8A68-161C922BE673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2D26788-4515-8C43-9D09-D0947DEA0F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387" y="728663"/>
            <a:ext cx="10777225" cy="853141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1246250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bei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E50E46EF-8318-D841-B303-A501C0EBEEEB}"/>
              </a:ext>
            </a:extLst>
          </p:cNvPr>
          <p:cNvSpPr/>
          <p:nvPr/>
        </p:nvSpPr>
        <p:spPr>
          <a:xfrm>
            <a:off x="442913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AED02F63-F484-DB46-9B42-1536CD11A87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2235469"/>
            <a:ext cx="8064500" cy="1666875"/>
          </a:xfrm>
        </p:spPr>
        <p:txBody>
          <a:bodyPr anchor="b" anchorCtr="0">
            <a:normAutofit/>
          </a:bodyPr>
          <a:lstStyle>
            <a:lvl1pPr algn="l">
              <a:defRPr sz="6000" b="1" i="0">
                <a:solidFill>
                  <a:schemeClr val="tx2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Overskrift</a:t>
            </a:r>
            <a:endParaRPr lang="da-DK" dirty="0"/>
          </a:p>
        </p:txBody>
      </p:sp>
      <p:sp>
        <p:nvSpPr>
          <p:cNvPr id="6" name="Subtitle 2">
            <a:extLst>
              <a:ext uri="{FF2B5EF4-FFF2-40B4-BE49-F238E27FC236}">
                <a16:creationId xmlns:a16="http://schemas.microsoft.com/office/drawing/2014/main" id="{241232D5-67BF-F241-9443-CDA869B7784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4067444"/>
            <a:ext cx="806450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  <a:endParaRPr lang="da-DK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9ECB311-AFAF-2B4D-9D41-08AD1BF58F5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B229928-1379-D147-A3CF-4CB67338796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5272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med overskrift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B405232-5FB6-CF4A-9C3E-8003DD2D667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3263A0-AE08-604A-886A-8CF45592419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0194955-420D-BF40-8D07-CD27447985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</p:spTree>
    <p:extLst>
      <p:ext uri="{BB962C8B-B14F-4D97-AF65-F5344CB8AC3E}">
        <p14:creationId xmlns:p14="http://schemas.microsoft.com/office/powerpoint/2010/main" val="2510986449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9D310E70-1EDF-9642-A68A-1ADE1CADD4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7F874BB-EC59-3E43-BA0D-28ADF39F9E0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30841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il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edia Placeholder 2">
            <a:extLst>
              <a:ext uri="{FF2B5EF4-FFF2-40B4-BE49-F238E27FC236}">
                <a16:creationId xmlns:a16="http://schemas.microsoft.com/office/drawing/2014/main" id="{2CEEA8F8-BE8A-9B49-874B-389CF9136EDA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12192000" cy="6858000"/>
          </a:xfrm>
        </p:spPr>
        <p:txBody>
          <a:bodyPr/>
          <a:lstStyle/>
          <a:p>
            <a:r>
              <a:rPr lang="da-DK" dirty="0"/>
              <a:t>Indsæt film</a:t>
            </a:r>
          </a:p>
        </p:txBody>
      </p:sp>
      <p:sp>
        <p:nvSpPr>
          <p:cNvPr id="4" name="Text Placeholder 10">
            <a:extLst>
              <a:ext uri="{FF2B5EF4-FFF2-40B4-BE49-F238E27FC236}">
                <a16:creationId xmlns:a16="http://schemas.microsoft.com/office/drawing/2014/main" id="{A52AEBD5-3EDF-D64E-AEF1-9786FC015E8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52200" y="6555600"/>
            <a:ext cx="687600" cy="19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02915165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k for i dag med bille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6DD37223-EF6D-984D-BCD0-D2A7B1970B03}"/>
              </a:ext>
            </a:extLst>
          </p:cNvPr>
          <p:cNvSpPr/>
          <p:nvPr/>
        </p:nvSpPr>
        <p:spPr>
          <a:xfrm rot="16200000">
            <a:off x="5874543" y="985986"/>
            <a:ext cx="442913" cy="1130617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28BB79B-5C80-4440-B287-19AF353E42D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3352695"/>
            <a:ext cx="8064500" cy="2076031"/>
          </a:xfrm>
        </p:spPr>
        <p:txBody>
          <a:bodyPr anchor="t" anchorCtr="0">
            <a:noAutofit/>
          </a:bodyPr>
          <a:lstStyle>
            <a:lvl1pPr algn="l">
              <a:defRPr sz="6000" b="1" i="0">
                <a:solidFill>
                  <a:schemeClr val="bg1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Tak</a:t>
            </a:r>
            <a:r>
              <a:rPr lang="en-US" dirty="0"/>
              <a:t> for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dag</a:t>
            </a:r>
            <a:endParaRPr lang="da-DK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0046F17E-412A-D244-A943-9E11EE61E10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49C888D-DCEA-1A43-9019-708D97D2BC5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DC45BDD-BD79-7C4C-AA60-5E7FAD47E97D}"/>
              </a:ext>
            </a:extLst>
          </p:cNvPr>
          <p:cNvSpPr/>
          <p:nvPr/>
        </p:nvSpPr>
        <p:spPr>
          <a:xfrm>
            <a:off x="-1" y="0"/>
            <a:ext cx="44291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19E78AEE-A811-674B-AF15-F7E65BD8AA74}"/>
              </a:ext>
            </a:extLst>
          </p:cNvPr>
          <p:cNvSpPr/>
          <p:nvPr/>
        </p:nvSpPr>
        <p:spPr>
          <a:xfrm>
            <a:off x="11749088" y="0"/>
            <a:ext cx="442913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60AFDB64-E049-BE4D-8B8C-9E49BA1B6F92}"/>
              </a:ext>
            </a:extLst>
          </p:cNvPr>
          <p:cNvSpPr/>
          <p:nvPr/>
        </p:nvSpPr>
        <p:spPr>
          <a:xfrm rot="16200000">
            <a:off x="5857874" y="-5414965"/>
            <a:ext cx="476251" cy="1130617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517669CF-2199-0345-8914-52AB950C7A1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753369" y="6554968"/>
            <a:ext cx="685262" cy="196831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FFAE54E-746D-E648-B1FA-AD751DD4B434}"/>
              </a:ext>
            </a:extLst>
          </p:cNvPr>
          <p:cNvSpPr txBox="1"/>
          <p:nvPr/>
        </p:nvSpPr>
        <p:spPr>
          <a:xfrm>
            <a:off x="12370682" y="2043795"/>
            <a:ext cx="281978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da-DK" sz="1000" b="1" dirty="0">
                <a:latin typeface="+mj-lt"/>
              </a:rPr>
              <a:t>Skift billede:</a:t>
            </a:r>
          </a:p>
          <a:p>
            <a:pPr algn="l"/>
            <a:r>
              <a:rPr lang="da-DK" sz="1000" dirty="0">
                <a:latin typeface="+mj-lt"/>
              </a:rPr>
              <a:t>Højre klik uden for format</a:t>
            </a:r>
          </a:p>
          <a:p>
            <a:pPr algn="l"/>
            <a:r>
              <a:rPr lang="da-DK" sz="1000" dirty="0">
                <a:latin typeface="+mj-lt"/>
              </a:rPr>
              <a:t>Klik på formatér baggrund</a:t>
            </a:r>
          </a:p>
          <a:p>
            <a:pPr algn="l"/>
            <a:r>
              <a:rPr lang="da-DK" sz="1000" dirty="0">
                <a:latin typeface="+mj-lt"/>
              </a:rPr>
              <a:t>Klik på indsæt fra fil og indsæt dit billede</a:t>
            </a:r>
          </a:p>
        </p:txBody>
      </p:sp>
    </p:spTree>
    <p:extLst>
      <p:ext uri="{BB962C8B-B14F-4D97-AF65-F5344CB8AC3E}">
        <p14:creationId xmlns:p14="http://schemas.microsoft.com/office/powerpoint/2010/main" val="366850562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k for i dag rø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C9BB247-7981-9741-859D-B8C30704E5DE}"/>
              </a:ext>
            </a:extLst>
          </p:cNvPr>
          <p:cNvSpPr/>
          <p:nvPr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chemeClr val="tx2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0319DBAC-767C-D342-854F-60DA79756E2C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3352695"/>
            <a:ext cx="8064500" cy="2076031"/>
          </a:xfrm>
        </p:spPr>
        <p:txBody>
          <a:bodyPr anchor="t" anchorCtr="0">
            <a:noAutofit/>
          </a:bodyPr>
          <a:lstStyle>
            <a:lvl1pPr algn="l">
              <a:defRPr sz="6000" b="1" i="0">
                <a:solidFill>
                  <a:schemeClr val="bg1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Tak</a:t>
            </a:r>
            <a:r>
              <a:rPr lang="en-US" dirty="0"/>
              <a:t> for </a:t>
            </a:r>
            <a:r>
              <a:rPr lang="en-US" dirty="0" err="1"/>
              <a:t>i</a:t>
            </a:r>
            <a:r>
              <a:rPr lang="en-US" dirty="0"/>
              <a:t> </a:t>
            </a:r>
            <a:r>
              <a:rPr lang="en-US" dirty="0" err="1"/>
              <a:t>dag</a:t>
            </a:r>
            <a:endParaRPr lang="da-DK" dirty="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603B50A2-70DB-3847-A903-CB54983A80C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22BD8E-A71F-9446-A801-EAE160B92DF1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694578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B61CC4-78AA-0547-94EA-2A3B79B0C1C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E472A03-4166-0D4D-8F5B-E7DD9D2C2AC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7C1B044-877C-BE46-B133-DA3BA7212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305D919-9790-7146-8C15-EDB00F92ADD5}" type="datetimeFigureOut">
              <a:rPr lang="en-GB" smtClean="0"/>
              <a:t>05/03/2024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05578C2-11EE-AA42-B07A-E9D9B84A26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1968BBA-DEAA-AF49-BAC1-D5CEE0F209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501889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side hvid 4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4A15AD-EF0D-3E49-B9B2-2F4AE2D65E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65EDD3-9574-FF47-8C45-D50753986B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1892AE-A022-AA43-B4C9-7650F74453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9" name="Content Placeholder 9">
            <a:extLst>
              <a:ext uri="{FF2B5EF4-FFF2-40B4-BE49-F238E27FC236}">
                <a16:creationId xmlns:a16="http://schemas.microsoft.com/office/drawing/2014/main" id="{2904631D-F2C3-BE47-91DC-079BC2DB966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706751" y="1581804"/>
            <a:ext cx="10777225" cy="4547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6543735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side hvid 3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4A15AD-EF0D-3E49-B9B2-2F4AE2D65ED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C65EDD3-9574-FF47-8C45-D50753986B7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2D1892AE-A022-AA43-B4C9-7650F744533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7" name="Content Placeholder 9">
            <a:extLst>
              <a:ext uri="{FF2B5EF4-FFF2-40B4-BE49-F238E27FC236}">
                <a16:creationId xmlns:a16="http://schemas.microsoft.com/office/drawing/2014/main" id="{BCB9AA9C-2838-1E45-B44C-B273ADE9237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67101" y="1581804"/>
            <a:ext cx="8016876" cy="4547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7967952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2 spalter hv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43106F08-AF8E-2149-B369-71DF3EDCF8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959F5AA-B5EF-B347-B26A-6C0D8F1C4AC3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BF5FDFC-53C8-E446-9128-03DA51416C3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  <p:sp>
        <p:nvSpPr>
          <p:cNvPr id="12" name="Content Placeholder 9">
            <a:extLst>
              <a:ext uri="{FF2B5EF4-FFF2-40B4-BE49-F238E27FC236}">
                <a16:creationId xmlns:a16="http://schemas.microsoft.com/office/drawing/2014/main" id="{28DA2D07-5569-1842-93A9-EE073821DFDD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240463" y="1581804"/>
            <a:ext cx="5243513" cy="4547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13" name="Content Placeholder 9">
            <a:extLst>
              <a:ext uri="{FF2B5EF4-FFF2-40B4-BE49-F238E27FC236}">
                <a16:creationId xmlns:a16="http://schemas.microsoft.com/office/drawing/2014/main" id="{75304ADB-F2E5-704F-A127-8A30128C671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708025" y="1581804"/>
            <a:ext cx="5243513" cy="4547534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742935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kst bei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04710091-636B-B844-BB41-40CC8B817826}"/>
              </a:ext>
            </a:extLst>
          </p:cNvPr>
          <p:cNvSpPr/>
          <p:nvPr/>
        </p:nvSpPr>
        <p:spPr>
          <a:xfrm>
            <a:off x="442912" y="476250"/>
            <a:ext cx="11306175" cy="5905500"/>
          </a:xfrm>
          <a:prstGeom prst="rect">
            <a:avLst/>
          </a:prstGeom>
          <a:solidFill>
            <a:srgbClr val="DCD7C8"/>
          </a:solidFill>
          <a:ln w="762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153E5E53-26FB-C84E-8F7D-6238E33894E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56A1827-F159-CB49-92BF-388039122EA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07386" y="1590675"/>
            <a:ext cx="5244151" cy="1417638"/>
          </a:xfrm>
        </p:spPr>
        <p:txBody>
          <a:bodyPr/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D0798B7-3320-B147-9B29-444461B6F16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288AC43-F953-884B-97FC-A33DF604F4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2889682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tekst + billede logo rø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702D1789-7A82-3044-9A43-EC44F952EEF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solidFill>
            <a:schemeClr val="accent5"/>
          </a:solid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5D364358-C036-844C-8DDD-C9951E70F9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52200" y="6555600"/>
            <a:ext cx="687600" cy="19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A6414B98-22BA-F643-92D2-2B76B96A3E7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2235469"/>
            <a:ext cx="5056875" cy="1666875"/>
          </a:xfrm>
        </p:spPr>
        <p:txBody>
          <a:bodyPr anchor="b" anchorCtr="0">
            <a:normAutofit/>
          </a:bodyPr>
          <a:lstStyle>
            <a:lvl1pPr algn="l">
              <a:defRPr sz="6000" b="1" i="0">
                <a:solidFill>
                  <a:schemeClr val="bg1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Overskrift</a:t>
            </a:r>
            <a:endParaRPr lang="da-DK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EF1165FB-E3AF-D249-979A-93771E14F83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4067444"/>
            <a:ext cx="806450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13879399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tekst + billede logo hvid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702D1789-7A82-3044-9A43-EC44F952EEF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0"/>
            <a:ext cx="12192000" cy="6858000"/>
          </a:xfrm>
          <a:solidFill>
            <a:schemeClr val="accent5"/>
          </a:solid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5D364358-C036-844C-8DDD-C9951E70F90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752200" y="6555600"/>
            <a:ext cx="687600" cy="19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.</a:t>
            </a:r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3B33704-1AA4-A74C-9414-0CACC24A5B8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95325" y="2235469"/>
            <a:ext cx="5056875" cy="1666875"/>
          </a:xfrm>
        </p:spPr>
        <p:txBody>
          <a:bodyPr anchor="b" anchorCtr="0">
            <a:normAutofit/>
          </a:bodyPr>
          <a:lstStyle>
            <a:lvl1pPr algn="l">
              <a:defRPr sz="6000" b="1" i="0">
                <a:solidFill>
                  <a:schemeClr val="bg1"/>
                </a:solidFill>
                <a:latin typeface="COOP" pitchFamily="2" charset="0"/>
              </a:defRPr>
            </a:lvl1pPr>
          </a:lstStyle>
          <a:p>
            <a:r>
              <a:rPr lang="en-US" dirty="0" err="1"/>
              <a:t>Overskrift</a:t>
            </a:r>
            <a:endParaRPr lang="da-DK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4C396AD9-8E5D-FC43-BCC9-E9EF05846CF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4067444"/>
            <a:ext cx="8064500" cy="1655762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522034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image" Target="../media/image1.emf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image" Target="../media/image3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40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21E2004E-D16C-4D92-A76B-521AAFFA37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7"/>
            </p:custDataLst>
            <p:extLst>
              <p:ext uri="{D42A27DB-BD31-4B8C-83A1-F6EECF244321}">
                <p14:modId xmlns:p14="http://schemas.microsoft.com/office/powerpoint/2010/main" val="33922124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8" imgW="395" imgH="394" progId="TCLayout.ActiveDocument.1">
                  <p:embed/>
                </p:oleObj>
              </mc:Choice>
              <mc:Fallback>
                <p:oleObj name="think-cell Slide" r:id="rId38" imgW="395" imgH="39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21E2004E-D16C-4D92-A76B-521AAFFA37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9231D68-19DD-41BC-9C7E-EA2049A18F9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07387" y="728663"/>
            <a:ext cx="10777225" cy="853141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 err="1"/>
              <a:t>Overskrift</a:t>
            </a:r>
            <a:endParaRPr lang="da-D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7B71385-73A5-476C-9F9A-F8F0B17F808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07387" y="1581804"/>
            <a:ext cx="8052437" cy="454753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da-D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CA25B33-E8F2-4275-BE5B-5F9C61EC22D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640626" y="6551733"/>
            <a:ext cx="856049" cy="17468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r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fld id="{8873C856-2D42-774B-9F3D-A3E810E10692}" type="slidenum">
              <a:rPr lang="en-GB" smtClean="0"/>
              <a:t>‹nr.›</a:t>
            </a:fld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6C0AD088-394C-F741-97F1-90AE5DA9DC24}"/>
              </a:ext>
            </a:extLst>
          </p:cNvPr>
          <p:cNvPicPr>
            <a:picLocks noChangeAspect="1"/>
          </p:cNvPicPr>
          <p:nvPr/>
        </p:nvPicPr>
        <p:blipFill>
          <a:blip r:embed="rId4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1"/>
              </a:ext>
            </a:extLst>
          </a:blip>
          <a:stretch>
            <a:fillRect/>
          </a:stretch>
        </p:blipFill>
        <p:spPr>
          <a:xfrm>
            <a:off x="5753369" y="6554968"/>
            <a:ext cx="685262" cy="196831"/>
          </a:xfrm>
          <a:prstGeom prst="rect">
            <a:avLst/>
          </a:prstGeom>
        </p:spPr>
      </p:pic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247794A7-0409-4A44-9441-CCC620193A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707387" y="6551733"/>
            <a:ext cx="3850563" cy="174685"/>
          </a:xfrm>
          <a:prstGeom prst="rect">
            <a:avLst/>
          </a:prstGeom>
        </p:spPr>
        <p:txBody>
          <a:bodyPr vert="horz" lIns="0" tIns="0" rIns="0" bIns="0" rtlCol="0" anchor="b" anchorCtr="0"/>
          <a:lstStyle>
            <a:lvl1pPr algn="l">
              <a:defRPr sz="600">
                <a:solidFill>
                  <a:schemeClr val="tx1"/>
                </a:solidFill>
                <a:latin typeface="+mj-lt"/>
              </a:defRPr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09013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3" r:id="rId2"/>
    <p:sldLayoutId id="2147483664" r:id="rId3"/>
    <p:sldLayoutId id="2147483665" r:id="rId4"/>
    <p:sldLayoutId id="2147483666" r:id="rId5"/>
    <p:sldLayoutId id="2147483667" r:id="rId6"/>
    <p:sldLayoutId id="2147483668" r:id="rId7"/>
    <p:sldLayoutId id="2147483669" r:id="rId8"/>
    <p:sldLayoutId id="2147483670" r:id="rId9"/>
    <p:sldLayoutId id="2147483671" r:id="rId10"/>
    <p:sldLayoutId id="2147483672" r:id="rId11"/>
    <p:sldLayoutId id="2147483673" r:id="rId12"/>
    <p:sldLayoutId id="2147483674" r:id="rId13"/>
    <p:sldLayoutId id="2147483675" r:id="rId14"/>
    <p:sldLayoutId id="2147483676" r:id="rId15"/>
    <p:sldLayoutId id="2147483677" r:id="rId16"/>
    <p:sldLayoutId id="2147483678" r:id="rId17"/>
    <p:sldLayoutId id="2147483679" r:id="rId18"/>
    <p:sldLayoutId id="2147483680" r:id="rId19"/>
    <p:sldLayoutId id="2147483681" r:id="rId20"/>
    <p:sldLayoutId id="2147483682" r:id="rId21"/>
    <p:sldLayoutId id="2147483683" r:id="rId22"/>
    <p:sldLayoutId id="2147483684" r:id="rId23"/>
    <p:sldLayoutId id="2147483685" r:id="rId24"/>
    <p:sldLayoutId id="2147483686" r:id="rId25"/>
    <p:sldLayoutId id="2147483687" r:id="rId26"/>
    <p:sldLayoutId id="2147483688" r:id="rId27"/>
    <p:sldLayoutId id="2147483689" r:id="rId28"/>
    <p:sldLayoutId id="2147483690" r:id="rId29"/>
    <p:sldLayoutId id="2147483691" r:id="rId30"/>
    <p:sldLayoutId id="2147483692" r:id="rId31"/>
    <p:sldLayoutId id="2147483693" r:id="rId32"/>
    <p:sldLayoutId id="2147483694" r:id="rId33"/>
    <p:sldLayoutId id="2147483695" r:id="rId34"/>
    <p:sldLayoutId id="2147483696" r:id="rId35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100" b="1" i="0" kern="1200">
          <a:solidFill>
            <a:schemeClr val="tx2"/>
          </a:solidFill>
          <a:latin typeface="COOP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750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375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375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750"/>
        </a:spcBef>
        <a:buFont typeface="Arial" panose="020B0604020202020204" pitchFamily="34" charset="0"/>
        <a:buNone/>
        <a:tabLst/>
        <a:defRPr sz="1600" b="1" i="0" kern="1200">
          <a:solidFill>
            <a:schemeClr val="tx1"/>
          </a:solidFill>
          <a:latin typeface="COOP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375"/>
        </a:spcBef>
        <a:spcAft>
          <a:spcPts val="0"/>
        </a:spcAft>
        <a:buClrTx/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9">
          <p15:clr>
            <a:srgbClr val="F26B43"/>
          </p15:clr>
        </p15:guide>
        <p15:guide id="2" pos="438">
          <p15:clr>
            <a:srgbClr val="F26B43"/>
          </p15:clr>
        </p15:guide>
        <p15:guide id="3" pos="2184">
          <p15:clr>
            <a:srgbClr val="F26B43"/>
          </p15:clr>
        </p15:guide>
        <p15:guide id="4" pos="2026">
          <p15:clr>
            <a:srgbClr val="F26B43"/>
          </p15:clr>
        </p15:guide>
        <p15:guide id="5" pos="3931">
          <p15:clr>
            <a:srgbClr val="F26B43"/>
          </p15:clr>
        </p15:guide>
        <p15:guide id="6" pos="3749">
          <p15:clr>
            <a:srgbClr val="F26B43"/>
          </p15:clr>
        </p15:guide>
        <p15:guide id="7" pos="5677">
          <p15:clr>
            <a:srgbClr val="F26B43"/>
          </p15:clr>
        </p15:guide>
        <p15:guide id="8" pos="5518">
          <p15:clr>
            <a:srgbClr val="F26B43"/>
          </p15:clr>
        </p15:guide>
        <p15:guide id="13" pos="7242">
          <p15:clr>
            <a:srgbClr val="F26B43"/>
          </p15:clr>
        </p15:guide>
        <p15:guide id="14" pos="7401">
          <p15:clr>
            <a:srgbClr val="F26B43"/>
          </p15:clr>
        </p15:guide>
        <p15:guide id="15" orient="horz" pos="300">
          <p15:clr>
            <a:srgbClr val="F26B43"/>
          </p15:clr>
        </p15:guide>
        <p15:guide id="16" orient="horz" pos="3861">
          <p15:clr>
            <a:srgbClr val="F26B43"/>
          </p15:clr>
        </p15:guide>
        <p15:guide id="17" orient="horz" pos="4020">
          <p15:clr>
            <a:srgbClr val="F26B43"/>
          </p15:clr>
        </p15:guide>
        <p15:guide id="18" orient="horz" pos="459">
          <p15:clr>
            <a:srgbClr val="F26B43"/>
          </p15:clr>
        </p15:guide>
        <p15:guide id="19" orient="horz" pos="422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1.xml"/><Relationship Id="rId6" Type="http://schemas.openxmlformats.org/officeDocument/2006/relationships/image" Target="../media/image21.jpeg"/><Relationship Id="rId5" Type="http://schemas.openxmlformats.org/officeDocument/2006/relationships/hyperlink" Target="mailto:thomas.roland@coop.dk" TargetMode="Externa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2.xml"/><Relationship Id="rId6" Type="http://schemas.openxmlformats.org/officeDocument/2006/relationships/image" Target="../media/image22.jpeg"/><Relationship Id="rId5" Type="http://schemas.openxmlformats.org/officeDocument/2006/relationships/hyperlink" Target="mailto:nicki.pagh.boergesen@coop.dk" TargetMode="External"/><Relationship Id="rId4" Type="http://schemas.openxmlformats.org/officeDocument/2006/relationships/image" Target="../media/image1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3.xml"/><Relationship Id="rId6" Type="http://schemas.openxmlformats.org/officeDocument/2006/relationships/image" Target="../media/image23.jpeg"/><Relationship Id="rId5" Type="http://schemas.openxmlformats.org/officeDocument/2006/relationships/hyperlink" Target="mailto:huyen.pham@coop.dk" TargetMode="External"/><Relationship Id="rId4" Type="http://schemas.openxmlformats.org/officeDocument/2006/relationships/image" Target="../media/image1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eg"/><Relationship Id="rId3" Type="http://schemas.openxmlformats.org/officeDocument/2006/relationships/oleObject" Target="../embeddings/oleObject4.bin"/><Relationship Id="rId7" Type="http://schemas.openxmlformats.org/officeDocument/2006/relationships/image" Target="../media/image24.jpe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4.xml"/><Relationship Id="rId6" Type="http://schemas.openxmlformats.org/officeDocument/2006/relationships/hyperlink" Target="mailto:Lotte.hjorlund.andersen@coop.dk" TargetMode="External"/><Relationship Id="rId5" Type="http://schemas.openxmlformats.org/officeDocument/2006/relationships/hyperlink" Target="mailto:tobias.simonsen@coop.dk" TargetMode="External"/><Relationship Id="rId4" Type="http://schemas.openxmlformats.org/officeDocument/2006/relationships/image" Target="../media/image1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5.xml"/><Relationship Id="rId6" Type="http://schemas.openxmlformats.org/officeDocument/2006/relationships/image" Target="../media/image26.jpeg"/><Relationship Id="rId5" Type="http://schemas.openxmlformats.org/officeDocument/2006/relationships/hyperlink" Target="mailto:lasse.bolander@coop.dk" TargetMode="External"/><Relationship Id="rId4" Type="http://schemas.openxmlformats.org/officeDocument/2006/relationships/image" Target="../media/image1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6.xml"/><Relationship Id="rId6" Type="http://schemas.openxmlformats.org/officeDocument/2006/relationships/image" Target="../media/image27.jpeg"/><Relationship Id="rId5" Type="http://schemas.openxmlformats.org/officeDocument/2006/relationships/hyperlink" Target="mailto:nicolai.houe@coop.dk" TargetMode="External"/><Relationship Id="rId4" Type="http://schemas.openxmlformats.org/officeDocument/2006/relationships/image" Target="../media/image1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7.xml"/><Relationship Id="rId6" Type="http://schemas.openxmlformats.org/officeDocument/2006/relationships/image" Target="../media/image28.jpeg"/><Relationship Id="rId5" Type="http://schemas.openxmlformats.org/officeDocument/2006/relationships/hyperlink" Target="mailto:kirstenherlov@gmail.com" TargetMode="External"/><Relationship Id="rId4" Type="http://schemas.openxmlformats.org/officeDocument/2006/relationships/image" Target="../media/image1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8.xml"/><Relationship Id="rId6" Type="http://schemas.openxmlformats.org/officeDocument/2006/relationships/image" Target="../media/image29.jpeg"/><Relationship Id="rId5" Type="http://schemas.openxmlformats.org/officeDocument/2006/relationships/hyperlink" Target="mailto:mads.svaneklink@gmail.com" TargetMode="External"/><Relationship Id="rId4" Type="http://schemas.openxmlformats.org/officeDocument/2006/relationships/image" Target="../media/image1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9.xml"/><Relationship Id="rId6" Type="http://schemas.openxmlformats.org/officeDocument/2006/relationships/image" Target="../media/image30.jpeg"/><Relationship Id="rId5" Type="http://schemas.openxmlformats.org/officeDocument/2006/relationships/hyperlink" Target="mailto:cbm@reacto.dk" TargetMode="External"/><Relationship Id="rId4" Type="http://schemas.openxmlformats.org/officeDocument/2006/relationships/image" Target="../media/image1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0.xml"/><Relationship Id="rId6" Type="http://schemas.openxmlformats.org/officeDocument/2006/relationships/image" Target="../media/image31.jpeg"/><Relationship Id="rId5" Type="http://schemas.openxmlformats.org/officeDocument/2006/relationships/hyperlink" Target="mailto:Kristian.herlufsen@coop.dk" TargetMode="External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1.xml"/><Relationship Id="rId6" Type="http://schemas.openxmlformats.org/officeDocument/2006/relationships/image" Target="../media/image32.jpeg"/><Relationship Id="rId5" Type="http://schemas.openxmlformats.org/officeDocument/2006/relationships/hyperlink" Target="mailto:peter.nielsen750@gmail.com" TargetMode="External"/><Relationship Id="rId4" Type="http://schemas.openxmlformats.org/officeDocument/2006/relationships/image" Target="../media/image1.emf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2.xml"/><Relationship Id="rId6" Type="http://schemas.openxmlformats.org/officeDocument/2006/relationships/image" Target="../media/image33.jpeg"/><Relationship Id="rId5" Type="http://schemas.openxmlformats.org/officeDocument/2006/relationships/hyperlink" Target="mailto:busch@aarslevnet.dk" TargetMode="External"/><Relationship Id="rId4" Type="http://schemas.openxmlformats.org/officeDocument/2006/relationships/image" Target="../media/image1.em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3.xml"/><Relationship Id="rId6" Type="http://schemas.openxmlformats.org/officeDocument/2006/relationships/hyperlink" Target="mailto:info@demokratiskerhverv.dk" TargetMode="External"/><Relationship Id="rId5" Type="http://schemas.openxmlformats.org/officeDocument/2006/relationships/image" Target="../media/image34.png"/><Relationship Id="rId4" Type="http://schemas.openxmlformats.org/officeDocument/2006/relationships/image" Target="../media/image1.em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7" Type="http://schemas.openxmlformats.org/officeDocument/2006/relationships/image" Target="../media/image36.jpe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24.xml"/><Relationship Id="rId6" Type="http://schemas.openxmlformats.org/officeDocument/2006/relationships/hyperlink" Target="mailto:re@stopspildlokalt.dk" TargetMode="Externa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6" Type="http://schemas.openxmlformats.org/officeDocument/2006/relationships/image" Target="../media/image13.jpeg"/><Relationship Id="rId5" Type="http://schemas.openxmlformats.org/officeDocument/2006/relationships/hyperlink" Target="mailto:bente.svane.nielsen@coop.dk" TargetMode="External"/><Relationship Id="rId4" Type="http://schemas.openxmlformats.org/officeDocument/2006/relationships/image" Target="../media/image1.emf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6.xml"/><Relationship Id="rId6" Type="http://schemas.openxmlformats.org/officeDocument/2006/relationships/image" Target="../media/image14.jpeg"/><Relationship Id="rId5" Type="http://schemas.openxmlformats.org/officeDocument/2006/relationships/hyperlink" Target="mailto:mike.dranov@coop.dk" TargetMode="External"/><Relationship Id="rId4" Type="http://schemas.openxmlformats.org/officeDocument/2006/relationships/image" Target="../media/image1.em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7.xml"/><Relationship Id="rId6" Type="http://schemas.openxmlformats.org/officeDocument/2006/relationships/image" Target="../media/image15.jpg"/><Relationship Id="rId5" Type="http://schemas.openxmlformats.org/officeDocument/2006/relationships/hyperlink" Target="mailto:malene.brandt@coop.dk" TargetMode="External"/><Relationship Id="rId4" Type="http://schemas.openxmlformats.org/officeDocument/2006/relationships/image" Target="../media/image1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8.xml"/><Relationship Id="rId6" Type="http://schemas.openxmlformats.org/officeDocument/2006/relationships/image" Target="../media/image16.jpeg"/><Relationship Id="rId5" Type="http://schemas.openxmlformats.org/officeDocument/2006/relationships/hyperlink" Target="mailto:Claus.ljungdahl@coop.dk" TargetMode="External"/><Relationship Id="rId4" Type="http://schemas.openxmlformats.org/officeDocument/2006/relationships/image" Target="../media/image1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9.xml"/><Relationship Id="rId6" Type="http://schemas.openxmlformats.org/officeDocument/2006/relationships/image" Target="../media/image17.jpg"/><Relationship Id="rId5" Type="http://schemas.openxmlformats.org/officeDocument/2006/relationships/hyperlink" Target="mailto:josefina.estrada@coop.dk" TargetMode="External"/><Relationship Id="rId4" Type="http://schemas.openxmlformats.org/officeDocument/2006/relationships/image" Target="../media/image1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jpe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10.xml"/><Relationship Id="rId1" Type="http://schemas.openxmlformats.org/officeDocument/2006/relationships/tags" Target="../tags/tag10.xml"/><Relationship Id="rId6" Type="http://schemas.openxmlformats.org/officeDocument/2006/relationships/hyperlink" Target="mailto:pia.thorsen.jacobsen@coop.dk" TargetMode="External"/><Relationship Id="rId5" Type="http://schemas.openxmlformats.org/officeDocument/2006/relationships/hyperlink" Target="mailto:eva.guld.klausen@coop.dk" TargetMode="External"/><Relationship Id="rId4" Type="http://schemas.openxmlformats.org/officeDocument/2006/relationships/image" Target="../media/image1.emf"/><Relationship Id="rId9" Type="http://schemas.openxmlformats.org/officeDocument/2006/relationships/image" Target="../media/image20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>
            <a:extLst>
              <a:ext uri="{FF2B5EF4-FFF2-40B4-BE49-F238E27FC236}">
                <a16:creationId xmlns:a16="http://schemas.microsoft.com/office/drawing/2014/main" id="{8FF5C482-A2F7-46F8-862A-4138DFC05A1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71" name="Text Placeholder 2">
            <a:extLst>
              <a:ext uri="{FF2B5EF4-FFF2-40B4-BE49-F238E27FC236}">
                <a16:creationId xmlns:a16="http://schemas.microsoft.com/office/drawing/2014/main" id="{C0A4D2EC-C88B-4331-B4AF-6D57ED9BB86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752200" y="6555600"/>
            <a:ext cx="687600" cy="198000"/>
          </a:xfrm>
        </p:spPr>
        <p:txBody>
          <a:bodyPr/>
          <a:lstStyle/>
          <a:p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B3F5DE3-744D-48A2-B582-75F5B2E5734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5325" y="2235469"/>
            <a:ext cx="6645042" cy="1666875"/>
          </a:xfrm>
        </p:spPr>
        <p:txBody>
          <a:bodyPr anchor="b">
            <a:normAutofit/>
          </a:bodyPr>
          <a:lstStyle/>
          <a:p>
            <a:r>
              <a:rPr lang="en-US" sz="5800" dirty="0" err="1"/>
              <a:t>Demokratiugen</a:t>
            </a:r>
            <a:r>
              <a:rPr lang="en-US" sz="5800" dirty="0"/>
              <a:t> 2024</a:t>
            </a:r>
          </a:p>
        </p:txBody>
      </p:sp>
      <p:sp>
        <p:nvSpPr>
          <p:cNvPr id="73" name="Subtitle 4">
            <a:extLst>
              <a:ext uri="{FF2B5EF4-FFF2-40B4-BE49-F238E27FC236}">
                <a16:creationId xmlns:a16="http://schemas.microsoft.com/office/drawing/2014/main" id="{1F3E809F-63F9-42E2-BEB5-7FD005B15B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4067444"/>
            <a:ext cx="8064500" cy="1655762"/>
          </a:xfrm>
        </p:spPr>
        <p:txBody>
          <a:bodyPr>
            <a:normAutofit/>
          </a:bodyPr>
          <a:lstStyle/>
          <a:p>
            <a:r>
              <a:rPr lang="en-US" sz="1800" b="1" dirty="0" err="1"/>
              <a:t>Inspirationskatalog</a:t>
            </a:r>
            <a:r>
              <a:rPr lang="en-US" sz="1800" b="1" dirty="0"/>
              <a:t>: </a:t>
            </a:r>
          </a:p>
          <a:p>
            <a:r>
              <a:rPr lang="en-US" sz="1800" b="1" dirty="0"/>
              <a:t>Interne og </a:t>
            </a:r>
            <a:r>
              <a:rPr lang="en-US" sz="1800" b="1" dirty="0" err="1"/>
              <a:t>eksterne</a:t>
            </a:r>
            <a:r>
              <a:rPr lang="en-US" sz="1800" b="1" dirty="0"/>
              <a:t> </a:t>
            </a:r>
            <a:r>
              <a:rPr lang="en-US" sz="1800" b="1" dirty="0" err="1"/>
              <a:t>oplægsholdere</a:t>
            </a:r>
            <a:r>
              <a:rPr lang="en-US" sz="1800" b="1" dirty="0"/>
              <a:t> </a:t>
            </a:r>
            <a:br>
              <a:rPr lang="en-US" sz="1800" b="1" dirty="0"/>
            </a:br>
            <a:r>
              <a:rPr lang="en-US" sz="1800" b="1" dirty="0"/>
              <a:t>til </a:t>
            </a:r>
            <a:r>
              <a:rPr lang="en-US" sz="1800" b="1" dirty="0" err="1"/>
              <a:t>årsmøder</a:t>
            </a:r>
            <a:r>
              <a:rPr lang="en-US" sz="1800" b="1" dirty="0"/>
              <a:t> &amp; </a:t>
            </a:r>
            <a:r>
              <a:rPr lang="en-US" sz="1800" b="1" dirty="0" err="1"/>
              <a:t>generalforsamlinger</a:t>
            </a:r>
            <a:r>
              <a:rPr lang="en-US" sz="1800" b="1" dirty="0"/>
              <a:t> </a:t>
            </a:r>
            <a:r>
              <a:rPr lang="en-US" sz="1800" b="1" dirty="0" err="1"/>
              <a:t>i</a:t>
            </a:r>
            <a:r>
              <a:rPr lang="en-US" sz="1800" b="1" dirty="0"/>
              <a:t> Coop</a:t>
            </a:r>
          </a:p>
        </p:txBody>
      </p:sp>
    </p:spTree>
    <p:extLst>
      <p:ext uri="{BB962C8B-B14F-4D97-AF65-F5344CB8AC3E}">
        <p14:creationId xmlns:p14="http://schemas.microsoft.com/office/powerpoint/2010/main" val="247207345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FBD1CEA-3001-4F8A-9950-62F76A4127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FBD1CEA-3001-4F8A-9950-62F76A412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DFF0CCFE-019C-45D3-9FA1-D56B288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045" y="809346"/>
            <a:ext cx="10797708" cy="853141"/>
          </a:xfrm>
        </p:spPr>
        <p:txBody>
          <a:bodyPr>
            <a:normAutofit/>
          </a:bodyPr>
          <a:lstStyle/>
          <a:p>
            <a:pPr algn="ctr"/>
            <a:r>
              <a:rPr lang="da-DK" sz="3300" dirty="0">
                <a:solidFill>
                  <a:schemeClr val="tx1"/>
                </a:solidFill>
              </a:rPr>
              <a:t>Ansvarlighed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E97FA6F2-246A-44BE-99D3-85D84B5CCEC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288111" y="1486126"/>
            <a:ext cx="4654476" cy="4582633"/>
          </a:xfrm>
        </p:spPr>
        <p:txBody>
          <a:bodyPr/>
          <a:lstStyle/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8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homas Roland</a:t>
            </a:r>
          </a:p>
          <a:p>
            <a:pPr marL="0" indent="0">
              <a:buNone/>
            </a:pPr>
            <a:r>
              <a:rPr lang="da-DK" sz="14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Vareansvarlighed-</a:t>
            </a:r>
            <a: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&amp; Kvalitetschef</a:t>
            </a:r>
            <a:endParaRPr lang="da-DK" sz="14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EMAER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Fremtidens madvaner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Dyrevelfærd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Klimamærkning, GMO &amp;økologi 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Forskelle mellem forbrugernes ønsker, handlinger og forventninger</a:t>
            </a: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Kontakt</a:t>
            </a: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  <a:hlinkClick r:id="rId5"/>
              </a:rPr>
              <a:t>thomas.roland@coop.dk</a:t>
            </a: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da-DK" sz="1200" dirty="0">
              <a:latin typeface="COOP" panose="02010504010101010104" pitchFamily="2" charset="0"/>
            </a:endParaRPr>
          </a:p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a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800" dirty="0">
              <a:latin typeface="COOP" panose="02010504010101010104" pitchFamily="2" charset="0"/>
            </a:endParaRPr>
          </a:p>
        </p:txBody>
      </p:sp>
      <p:pic>
        <p:nvPicPr>
          <p:cNvPr id="3" name="Billede 2" descr="Et billede, der indeholder tøj, person, Ansigt, indendørs&#10;&#10;Automatisk genereret beskrivelse">
            <a:extLst>
              <a:ext uri="{FF2B5EF4-FFF2-40B4-BE49-F238E27FC236}">
                <a16:creationId xmlns:a16="http://schemas.microsoft.com/office/drawing/2014/main" id="{8221E1CB-FD1D-D2B9-2D74-67CD2624106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54318" y="1466021"/>
            <a:ext cx="3054537" cy="45826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804636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FBD1CEA-3001-4F8A-9950-62F76A4127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FBD1CEA-3001-4F8A-9950-62F76A412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DFF0CCFE-019C-45D3-9FA1-D56B288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045" y="809346"/>
            <a:ext cx="10797708" cy="853141"/>
          </a:xfrm>
        </p:spPr>
        <p:txBody>
          <a:bodyPr>
            <a:normAutofit/>
          </a:bodyPr>
          <a:lstStyle/>
          <a:p>
            <a:pPr algn="ctr"/>
            <a:r>
              <a:rPr lang="da-DK" sz="3300" dirty="0">
                <a:solidFill>
                  <a:schemeClr val="tx1"/>
                </a:solidFill>
              </a:rPr>
              <a:t>Coop Energi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E97FA6F2-246A-44BE-99D3-85D84B5CCEC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502691" y="1520114"/>
            <a:ext cx="4846628" cy="4574427"/>
          </a:xfrm>
        </p:spPr>
        <p:txBody>
          <a:bodyPr/>
          <a:lstStyle/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800" b="1" dirty="0"/>
              <a:t>Nicki Pagh</a:t>
            </a:r>
            <a:endParaRPr lang="da-DK" sz="1200" b="1" dirty="0"/>
          </a:p>
          <a:p>
            <a:pPr marL="0" indent="0">
              <a:buNone/>
            </a:pPr>
            <a:r>
              <a:rPr lang="da-DK" sz="1400" b="1" dirty="0"/>
              <a:t>Energichef Coop Danmark</a:t>
            </a:r>
          </a:p>
          <a:p>
            <a:pPr marL="0" indent="0">
              <a:buNone/>
            </a:pPr>
            <a:endParaRPr lang="da-DK" sz="14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da-DK" sz="14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EMAER</a:t>
            </a:r>
            <a:endParaRPr lang="da-DK" sz="1200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Energistrategi i øjenhøjde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Hvad gjorde Coop da energikrisen ramte med fuld kraft?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Hvordan tackler Coop energikrisen i fremtiden?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Har vi en energistrategi? Og hvad kan bestyrelserne og de medlemsvalgte bidrage med?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Kan jeg som medlem hjælpe butikken med at spare på energien? Eller på anden vis hjælpe?</a:t>
            </a: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Kontakt</a:t>
            </a: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  <a:hlinkClick r:id="rId5"/>
              </a:rPr>
              <a:t>nicki.pagh.boergesen@coop.dk</a:t>
            </a: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da-DK" sz="1200" dirty="0">
                <a:latin typeface="COOP" panose="02010504010101010104" pitchFamily="2" charset="0"/>
                <a:cs typeface="Times New Roman" panose="02020603050405020304" pitchFamily="18" charset="0"/>
              </a:rPr>
              <a:t> </a:t>
            </a:r>
            <a:endParaRPr lang="da-DK" sz="1200" dirty="0">
              <a:latin typeface="COOP" panose="02010504010101010104" pitchFamily="2" charset="0"/>
            </a:endParaRPr>
          </a:p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a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800" dirty="0">
              <a:latin typeface="COOP" panose="02010504010101010104" pitchFamily="2" charset="0"/>
            </a:endParaRPr>
          </a:p>
        </p:txBody>
      </p:sp>
      <p:pic>
        <p:nvPicPr>
          <p:cNvPr id="3" name="Billede 2" descr="Et billede, der indeholder himmel, udendørs&#10;&#10;Automatisk genereret beskrivelse">
            <a:extLst>
              <a:ext uri="{FF2B5EF4-FFF2-40B4-BE49-F238E27FC236}">
                <a16:creationId xmlns:a16="http://schemas.microsoft.com/office/drawing/2014/main" id="{2BFE2F37-7FD6-4BE1-B533-8108BAA71017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2681" y="1821976"/>
            <a:ext cx="5087173" cy="33914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08177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FBD1CEA-3001-4F8A-9950-62F76A4127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FBD1CEA-3001-4F8A-9950-62F76A412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DFF0CCFE-019C-45D3-9FA1-D56B288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045" y="809346"/>
            <a:ext cx="10797708" cy="853141"/>
          </a:xfrm>
        </p:spPr>
        <p:txBody>
          <a:bodyPr>
            <a:normAutofit/>
          </a:bodyPr>
          <a:lstStyle/>
          <a:p>
            <a:pPr algn="ctr"/>
            <a:r>
              <a:rPr lang="da-DK" sz="3300" dirty="0">
                <a:solidFill>
                  <a:schemeClr val="tx1"/>
                </a:solidFill>
              </a:rPr>
              <a:t>Coop Energi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E97FA6F2-246A-44BE-99D3-85D84B5CCEC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024680" y="1587226"/>
            <a:ext cx="4641014" cy="4574427"/>
          </a:xfrm>
        </p:spPr>
        <p:txBody>
          <a:bodyPr/>
          <a:lstStyle/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800" b="1" dirty="0"/>
              <a:t>Huyen Pham</a:t>
            </a:r>
          </a:p>
          <a:p>
            <a:pPr marL="0" indent="0">
              <a:buNone/>
            </a:pPr>
            <a:r>
              <a:rPr lang="da-DK" sz="1400" b="1" dirty="0"/>
              <a:t>Ansvarlig for energiledelse i Coop Danmark</a:t>
            </a:r>
            <a:endParaRPr lang="da-DK" sz="14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EMAER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Hvad er Energiledelse og hvorfor har Coop det?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Hvad gjorde Coop da energikrisen ramte med fuld kraft?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Brugeradfærd – kan man opnå besparelser uden investeringer?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Kan jeg som medlem hjælpe butikken med at spare på energien? Eller på anden vis hjælpe?</a:t>
            </a: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Kontakt</a:t>
            </a: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  <a:hlinkClick r:id="rId5"/>
              </a:rPr>
              <a:t>huyen.pham@coop.dk</a:t>
            </a: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b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da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800" dirty="0">
              <a:latin typeface="COOP" panose="02010504010101010104" pitchFamily="2" charset="0"/>
            </a:endParaRPr>
          </a:p>
        </p:txBody>
      </p:sp>
      <p:pic>
        <p:nvPicPr>
          <p:cNvPr id="3" name="Billede 2" descr="Et billede, der indeholder person, kvinde, udendørs&#10;&#10;Automatisk genereret beskrivelse">
            <a:extLst>
              <a:ext uri="{FF2B5EF4-FFF2-40B4-BE49-F238E27FC236}">
                <a16:creationId xmlns:a16="http://schemas.microsoft.com/office/drawing/2014/main" id="{FE889928-61EA-40BC-8313-0EE7A5552B42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6000" y="1888957"/>
            <a:ext cx="5296012" cy="35306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154600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FBD1CEA-3001-4F8A-9950-62F76A4127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FBD1CEA-3001-4F8A-9950-62F76A412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DFF0CCFE-019C-45D3-9FA1-D56B288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045" y="809346"/>
            <a:ext cx="10797708" cy="764273"/>
          </a:xfrm>
        </p:spPr>
        <p:txBody>
          <a:bodyPr>
            <a:normAutofit fontScale="90000"/>
          </a:bodyPr>
          <a:lstStyle/>
          <a:p>
            <a:pPr algn="ctr"/>
            <a:r>
              <a:rPr lang="da-DK" sz="3600" b="1" dirty="0">
                <a:solidFill>
                  <a:schemeClr val="tx1"/>
                </a:solidFill>
              </a:rPr>
              <a:t>HR &amp; Ungeagendaen i Coop</a:t>
            </a:r>
            <a:br>
              <a:rPr lang="da-DK" sz="2400" dirty="0">
                <a:solidFill>
                  <a:schemeClr val="tx1"/>
                </a:solidFill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br>
              <a:rPr lang="da-DK" dirty="0">
                <a:solidFill>
                  <a:schemeClr val="tx1"/>
                </a:solidFill>
              </a:rPr>
            </a:br>
            <a:br>
              <a:rPr lang="da-DK" dirty="0">
                <a:solidFill>
                  <a:schemeClr val="tx1"/>
                </a:solidFill>
              </a:rPr>
            </a:br>
            <a:br>
              <a:rPr lang="da-DK" sz="3100" b="1" dirty="0">
                <a:solidFill>
                  <a:schemeClr val="tx1"/>
                </a:solidFill>
              </a:rPr>
            </a:b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E97FA6F2-246A-44BE-99D3-85D84B5CCEC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411433" y="1690577"/>
            <a:ext cx="5207319" cy="4358078"/>
          </a:xfrm>
        </p:spPr>
        <p:txBody>
          <a:bodyPr/>
          <a:lstStyle/>
          <a:p>
            <a:pPr marL="0" indent="0">
              <a:buNone/>
            </a:pPr>
            <a:r>
              <a:rPr lang="da-DK" sz="18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Lotte Hjortlund Andersen</a:t>
            </a:r>
            <a: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b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a-DK" sz="14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HR-direktør Coop Danmark</a:t>
            </a:r>
          </a:p>
          <a:p>
            <a:pPr marL="0" indent="0">
              <a:buNone/>
            </a:pPr>
            <a:r>
              <a:rPr lang="da-DK" sz="18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obias Simonsen</a:t>
            </a:r>
            <a:b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a-DK" sz="14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Ungeminister Coop Danmark</a:t>
            </a:r>
          </a:p>
          <a:p>
            <a:pPr marL="0" indent="0">
              <a:buNone/>
            </a:pPr>
            <a:endParaRPr lang="da-DK" sz="14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EMAER</a:t>
            </a:r>
            <a:endParaRPr lang="da-DK" sz="1200" u="sng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HR-agendaen i Coop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Kollegafællesskab på tværs af generationer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Fastholdelse og tiltrækning </a:t>
            </a:r>
          </a:p>
          <a:p>
            <a:r>
              <a:rPr lang="en-US" sz="1200" dirty="0">
                <a:ea typeface="Calibri" panose="020F0502020204030204" pitchFamily="34" charset="0"/>
                <a:cs typeface="Times New Roman" panose="02020603050405020304" pitchFamily="18" charset="0"/>
              </a:rPr>
              <a:t>Coops </a:t>
            </a:r>
            <a:r>
              <a:rPr lang="en-US" sz="1200" dirty="0" err="1">
                <a:ea typeface="Calibri" panose="020F0502020204030204" pitchFamily="34" charset="0"/>
                <a:cs typeface="Times New Roman" panose="02020603050405020304" pitchFamily="18" charset="0"/>
              </a:rPr>
              <a:t>Ungeråd</a:t>
            </a:r>
            <a:r>
              <a:rPr lang="en-US" sz="1200" dirty="0">
                <a:ea typeface="Calibri" panose="020F0502020204030204" pitchFamily="34" charset="0"/>
                <a:cs typeface="Times New Roman" panose="02020603050405020304" pitchFamily="18" charset="0"/>
              </a:rPr>
              <a:t> &amp; u</a:t>
            </a:r>
            <a:r>
              <a:rPr lang="da-DK" sz="1200" dirty="0" err="1">
                <a:latin typeface="COOP" panose="02010504010101010104" pitchFamily="2" charset="0"/>
                <a:cs typeface="Calibri" panose="020F0502020204030204" pitchFamily="34" charset="0"/>
              </a:rPr>
              <a:t>nges</a:t>
            </a:r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 deltagelse i lokale fællesskaber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Diversitet i bestyrelser, m</a:t>
            </a:r>
            <a:r>
              <a:rPr lang="en-US" sz="1200" dirty="0" err="1">
                <a:ea typeface="Calibri" panose="020F0502020204030204" pitchFamily="34" charset="0"/>
                <a:cs typeface="Times New Roman" panose="02020603050405020304" pitchFamily="18" charset="0"/>
              </a:rPr>
              <a:t>angfoldighed</a:t>
            </a:r>
            <a:r>
              <a:rPr lang="en-US" sz="1200" dirty="0">
                <a:ea typeface="Calibri" panose="020F0502020204030204" pitchFamily="34" charset="0"/>
                <a:cs typeface="Times New Roman" panose="02020603050405020304" pitchFamily="18" charset="0"/>
              </a:rPr>
              <a:t> og </a:t>
            </a:r>
            <a:r>
              <a:rPr lang="en-US" sz="1200" dirty="0" err="1">
                <a:ea typeface="Calibri" panose="020F0502020204030204" pitchFamily="34" charset="0"/>
                <a:cs typeface="Times New Roman" panose="02020603050405020304" pitchFamily="18" charset="0"/>
              </a:rPr>
              <a:t>inklusion</a:t>
            </a:r>
            <a:endParaRPr lang="da-DK" sz="1200" dirty="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Kontakt</a:t>
            </a: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  <a:hlinkClick r:id="rId5"/>
              </a:rPr>
              <a:t>tobias.simonsen@coop.dk</a:t>
            </a: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  <a:hlinkClick r:id="rId6"/>
              </a:rPr>
              <a:t>lotte.hjorlund.andersen@coop.dk</a:t>
            </a: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b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da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800" dirty="0">
              <a:latin typeface="COOP" panose="02010504010101010104" pitchFamily="2" charset="0"/>
            </a:endParaRPr>
          </a:p>
        </p:txBody>
      </p:sp>
      <p:pic>
        <p:nvPicPr>
          <p:cNvPr id="1026" name="Billede 3">
            <a:extLst>
              <a:ext uri="{FF2B5EF4-FFF2-40B4-BE49-F238E27FC236}">
                <a16:creationId xmlns:a16="http://schemas.microsoft.com/office/drawing/2014/main" id="{7CD829C5-46E7-41C5-B23A-737A0939273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611393" y="3219255"/>
            <a:ext cx="2554224" cy="25542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" name="Billede 2" descr="Et billede, der indeholder Ansigt, tøj, person, smil&#10;&#10;Automatisk genereret beskrivelse">
            <a:extLst>
              <a:ext uri="{FF2B5EF4-FFF2-40B4-BE49-F238E27FC236}">
                <a16:creationId xmlns:a16="http://schemas.microsoft.com/office/drawing/2014/main" id="{1D98AC40-785A-A5D7-DD3A-A2E05405C847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1347" y="1945758"/>
            <a:ext cx="3050735" cy="2033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8726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FBD1CEA-3001-4F8A-9950-62F76A4127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FBD1CEA-3001-4F8A-9950-62F76A412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DFF0CCFE-019C-45D3-9FA1-D56B288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045" y="809346"/>
            <a:ext cx="10797708" cy="853141"/>
          </a:xfrm>
        </p:spPr>
        <p:txBody>
          <a:bodyPr>
            <a:normAutofit fontScale="90000"/>
          </a:bodyPr>
          <a:lstStyle/>
          <a:p>
            <a:pPr algn="ctr"/>
            <a:r>
              <a:rPr lang="da-DK" sz="3300" dirty="0">
                <a:solidFill>
                  <a:schemeClr val="tx1"/>
                </a:solidFill>
              </a:rPr>
              <a:t>Coop ambas bestyrelse</a:t>
            </a:r>
            <a:br>
              <a:rPr lang="da-DK" dirty="0">
                <a:solidFill>
                  <a:schemeClr val="tx1"/>
                </a:solidFill>
              </a:rPr>
            </a:br>
            <a:br>
              <a:rPr lang="da-DK" dirty="0">
                <a:solidFill>
                  <a:schemeClr val="tx1"/>
                </a:solidFill>
              </a:rPr>
            </a:br>
            <a:br>
              <a:rPr lang="da-DK" sz="3100" b="1" dirty="0">
                <a:solidFill>
                  <a:schemeClr val="tx1"/>
                </a:solidFill>
              </a:rPr>
            </a:b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E97FA6F2-246A-44BE-99D3-85D84B5CCEC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288154" y="1662487"/>
            <a:ext cx="4917727" cy="4574427"/>
          </a:xfrm>
        </p:spPr>
        <p:txBody>
          <a:bodyPr/>
          <a:lstStyle/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800" b="1" dirty="0">
                <a:solidFill>
                  <a:schemeClr val="tx1"/>
                </a:solidFill>
              </a:rPr>
              <a:t>Lasse Bolander</a:t>
            </a:r>
          </a:p>
          <a:p>
            <a:pPr marL="0" indent="0">
              <a:buNone/>
            </a:pPr>
            <a:r>
              <a:rPr lang="da-DK" sz="1400" b="1" dirty="0"/>
              <a:t>Bestyrelsesformand</a:t>
            </a:r>
            <a:endParaRPr lang="da-DK" sz="14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da-DK" sz="14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EMAER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Coops historie 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Nyt fra Coop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Fremtidens Coop</a:t>
            </a: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Kontakt</a:t>
            </a: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lasse.bolander@coop.dk</a:t>
            </a: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</a:endParaRPr>
          </a:p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a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800" dirty="0">
              <a:latin typeface="COOP" panose="02010504010101010104" pitchFamily="2" charset="0"/>
            </a:endParaRPr>
          </a:p>
        </p:txBody>
      </p:sp>
      <p:pic>
        <p:nvPicPr>
          <p:cNvPr id="3" name="Billede 2" descr="Et billede, der indeholder person, mand, kulør, bærer&#10;&#10;Automatisk genereret beskrivelse">
            <a:extLst>
              <a:ext uri="{FF2B5EF4-FFF2-40B4-BE49-F238E27FC236}">
                <a16:creationId xmlns:a16="http://schemas.microsoft.com/office/drawing/2014/main" id="{31863412-6362-45BF-9593-D64C2965232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37917" y="2014369"/>
            <a:ext cx="3065930" cy="3065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334623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FBD1CEA-3001-4F8A-9950-62F76A4127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FBD1CEA-3001-4F8A-9950-62F76A412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DFF0CCFE-019C-45D3-9FA1-D56B288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045" y="809346"/>
            <a:ext cx="10797708" cy="853141"/>
          </a:xfrm>
        </p:spPr>
        <p:txBody>
          <a:bodyPr>
            <a:normAutofit/>
          </a:bodyPr>
          <a:lstStyle/>
          <a:p>
            <a:pPr algn="ctr"/>
            <a:r>
              <a:rPr lang="da-DK" sz="3300" dirty="0">
                <a:solidFill>
                  <a:schemeClr val="tx1"/>
                </a:solidFill>
              </a:rPr>
              <a:t>Coop ambas bestyrelse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E97FA6F2-246A-44BE-99D3-85D84B5CCEC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737412" y="1760816"/>
            <a:ext cx="4934174" cy="4287838"/>
          </a:xfrm>
        </p:spPr>
        <p:txBody>
          <a:bodyPr/>
          <a:lstStyle/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800" b="1" dirty="0">
                <a:solidFill>
                  <a:schemeClr val="tx1"/>
                </a:solidFill>
              </a:rPr>
              <a:t>Nicolai Houe</a:t>
            </a:r>
          </a:p>
          <a:p>
            <a:pPr marL="0" indent="0">
              <a:buNone/>
            </a:pPr>
            <a:r>
              <a:rPr lang="da-DK" sz="1400" b="1" dirty="0"/>
              <a:t>Bestyrelsesmedlem og landsrådsmedlem</a:t>
            </a:r>
          </a:p>
          <a:p>
            <a:pPr marL="0" indent="0">
              <a:buNone/>
            </a:pPr>
            <a:endParaRPr lang="da-DK" sz="12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da-DK" sz="1200" b="1" dirty="0"/>
              <a:t>TEMAER</a:t>
            </a:r>
          </a:p>
          <a:p>
            <a:r>
              <a:rPr lang="da-DK" sz="1200" dirty="0">
                <a:effectLst/>
                <a:ea typeface="Calibri" panose="020F0502020204030204" pitchFamily="34" charset="0"/>
              </a:rPr>
              <a:t>Coop 2034. Et historisk oprids af bevægelsen fra medlemsklub til andelsselskab. </a:t>
            </a:r>
          </a:p>
          <a:p>
            <a:r>
              <a:rPr lang="da-DK" sz="1200" dirty="0">
                <a:effectLst/>
                <a:ea typeface="Calibri" panose="020F0502020204030204" pitchFamily="34" charset="0"/>
              </a:rPr>
              <a:t>Klima Kvickly. Fra ide til klimamål</a:t>
            </a:r>
          </a:p>
          <a:p>
            <a:pPr lvl="1"/>
            <a:r>
              <a:rPr lang="da-DK" sz="1200" dirty="0">
                <a:effectLst/>
                <a:ea typeface="Calibri" panose="020F0502020204030204" pitchFamily="34" charset="0"/>
              </a:rPr>
              <a:t>Er der forretning i klimaet?</a:t>
            </a:r>
          </a:p>
          <a:p>
            <a:endParaRPr lang="da-DK" sz="1200" dirty="0">
              <a:effectLst/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da-DK" sz="1200" dirty="0">
                <a:ea typeface="Calibri" panose="020F0502020204030204" pitchFamily="34" charset="0"/>
              </a:rPr>
              <a:t>Kontakt</a:t>
            </a:r>
          </a:p>
          <a:p>
            <a:pPr marL="0" indent="0">
              <a:buNone/>
            </a:pPr>
            <a:r>
              <a:rPr lang="da-DK" sz="1200" dirty="0">
                <a:effectLst/>
                <a:ea typeface="Calibri" panose="020F0502020204030204" pitchFamily="34" charset="0"/>
                <a:hlinkClick r:id="rId5"/>
              </a:rPr>
              <a:t>nicolai.houe@coop.dk</a:t>
            </a:r>
            <a:r>
              <a:rPr lang="da-DK" sz="1200" dirty="0">
                <a:effectLst/>
                <a:ea typeface="Calibri" panose="020F0502020204030204" pitchFamily="34" charset="0"/>
              </a:rPr>
              <a:t> </a:t>
            </a:r>
          </a:p>
          <a:p>
            <a:pPr marL="0" indent="0">
              <a:buNone/>
            </a:pPr>
            <a:endParaRPr lang="da-DK" sz="14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</a:endParaRPr>
          </a:p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2">
              <a:lnSpc>
                <a:spcPct val="107000"/>
              </a:lnSpc>
              <a:spcAft>
                <a:spcPts val="800"/>
              </a:spcAft>
            </a:pPr>
            <a:endParaRPr lang="da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800" dirty="0">
              <a:latin typeface="COOP" panose="02010504010101010104" pitchFamily="2" charset="0"/>
            </a:endParaRPr>
          </a:p>
        </p:txBody>
      </p:sp>
      <p:pic>
        <p:nvPicPr>
          <p:cNvPr id="8" name="Billede 7" descr="Et billede, der indeholder person, mand, kulør&#10;&#10;Automatisk genereret beskrivelse">
            <a:extLst>
              <a:ext uri="{FF2B5EF4-FFF2-40B4-BE49-F238E27FC236}">
                <a16:creationId xmlns:a16="http://schemas.microsoft.com/office/drawing/2014/main" id="{F6807AA9-75E4-4E10-B5AB-AE425653F99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317524" y="1675934"/>
            <a:ext cx="2857928" cy="42878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77419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FBD1CEA-3001-4F8A-9950-62F76A4127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FBD1CEA-3001-4F8A-9950-62F76A412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DFF0CCFE-019C-45D3-9FA1-D56B288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045" y="809346"/>
            <a:ext cx="10797708" cy="853141"/>
          </a:xfrm>
        </p:spPr>
        <p:txBody>
          <a:bodyPr>
            <a:normAutofit fontScale="90000"/>
          </a:bodyPr>
          <a:lstStyle/>
          <a:p>
            <a:pPr algn="ctr"/>
            <a:r>
              <a:rPr lang="da-DK" sz="3600" b="1" dirty="0">
                <a:solidFill>
                  <a:schemeClr val="tx1"/>
                </a:solidFill>
              </a:rPr>
              <a:t>Coop ambas bestyrelse</a:t>
            </a:r>
            <a:br>
              <a:rPr lang="da-DK" dirty="0">
                <a:solidFill>
                  <a:schemeClr val="tx1"/>
                </a:solidFill>
              </a:rPr>
            </a:br>
            <a:br>
              <a:rPr lang="da-DK" dirty="0">
                <a:solidFill>
                  <a:schemeClr val="tx1"/>
                </a:solidFill>
              </a:rPr>
            </a:br>
            <a:br>
              <a:rPr lang="da-DK" sz="3100" b="1" dirty="0">
                <a:solidFill>
                  <a:schemeClr val="tx1"/>
                </a:solidFill>
              </a:rPr>
            </a:b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E97FA6F2-246A-44BE-99D3-85D84B5CCEC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484555" y="1929186"/>
            <a:ext cx="4087907" cy="4127535"/>
          </a:xfrm>
        </p:spPr>
        <p:txBody>
          <a:bodyPr/>
          <a:lstStyle/>
          <a:p>
            <a:pPr marL="0" indent="0">
              <a:buNone/>
            </a:pPr>
            <a:r>
              <a:rPr lang="da-DK" sz="1800" b="1" dirty="0">
                <a:solidFill>
                  <a:schemeClr val="tx1"/>
                </a:solidFill>
              </a:rPr>
              <a:t>Kirsten Herløv </a:t>
            </a:r>
          </a:p>
          <a:p>
            <a:pPr marL="0" indent="0">
              <a:buNone/>
            </a:pPr>
            <a:r>
              <a:rPr lang="da-DK" sz="1400" b="1" dirty="0">
                <a:solidFill>
                  <a:schemeClr val="tx1"/>
                </a:solidFill>
              </a:rPr>
              <a:t>B</a:t>
            </a:r>
            <a:r>
              <a:rPr lang="da-DK" sz="1400" b="1" dirty="0"/>
              <a:t>estyrelsesmedlem</a:t>
            </a:r>
          </a:p>
          <a:p>
            <a:pPr marL="0" indent="0">
              <a:buNone/>
            </a:pPr>
            <a:endParaRPr lang="da-DK" sz="12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da-DK" sz="1200" b="1" dirty="0"/>
              <a:t>TEMAER</a:t>
            </a:r>
          </a:p>
          <a:p>
            <a:r>
              <a:rPr lang="da-DK" sz="1200" dirty="0">
                <a:effectLst/>
                <a:ea typeface="Calibri" panose="020F0502020204030204" pitchFamily="34" charset="0"/>
              </a:rPr>
              <a:t>Hvordan står lokalsamfund sammen og værner om Brugsen lokalt?</a:t>
            </a:r>
          </a:p>
          <a:p>
            <a:r>
              <a:rPr lang="da-DK" sz="1200" dirty="0">
                <a:effectLst/>
                <a:ea typeface="Calibri" panose="020F0502020204030204" pitchFamily="34" charset="0"/>
              </a:rPr>
              <a:t>Det gode bestyrelsesarbejde </a:t>
            </a:r>
            <a:endParaRPr lang="da-DK" sz="1200" dirty="0">
              <a:ea typeface="Calibri" panose="020F0502020204030204" pitchFamily="34" charset="0"/>
            </a:endParaRPr>
          </a:p>
          <a:p>
            <a:r>
              <a:rPr lang="da-DK" sz="1200" dirty="0">
                <a:effectLst/>
                <a:ea typeface="Calibri" panose="020F0502020204030204" pitchFamily="34" charset="0"/>
              </a:rPr>
              <a:t>Mit virke som lokalt bestyrelsesmedlem,  i butiksudvalg, som landsrådsmedlem og bestyrelsesmedlem i Coop amba</a:t>
            </a:r>
          </a:p>
          <a:p>
            <a:endParaRPr lang="da-DK" sz="1200" dirty="0">
              <a:effectLst/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da-DK" sz="1200" dirty="0">
                <a:effectLst/>
                <a:ea typeface="Calibri" panose="020F0502020204030204" pitchFamily="34" charset="0"/>
              </a:rPr>
              <a:t>Kontakt</a:t>
            </a:r>
          </a:p>
          <a:p>
            <a:pPr marL="0" indent="0">
              <a:buNone/>
            </a:pPr>
            <a:r>
              <a:rPr lang="da-DK" sz="1200" dirty="0">
                <a:effectLst/>
                <a:ea typeface="Calibri" panose="020F0502020204030204" pitchFamily="34" charset="0"/>
                <a:hlinkClick r:id="rId5"/>
              </a:rPr>
              <a:t>kirstenherlov@gmail.com</a:t>
            </a:r>
            <a:r>
              <a:rPr lang="da-DK" sz="1200" dirty="0">
                <a:effectLst/>
                <a:ea typeface="Calibri" panose="020F0502020204030204" pitchFamily="34" charset="0"/>
              </a:rPr>
              <a:t> </a:t>
            </a:r>
            <a:endParaRPr lang="da-DK" sz="14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</a:endParaRPr>
          </a:p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a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800" dirty="0">
              <a:latin typeface="COOP" panose="02010504010101010104" pitchFamily="2" charset="0"/>
            </a:endParaRP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811B25CE-534B-4EDC-B510-6411D074D5C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3899" y="1929187"/>
            <a:ext cx="2645303" cy="39672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94563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FBD1CEA-3001-4F8A-9950-62F76A4127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FBD1CEA-3001-4F8A-9950-62F76A412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DFF0CCFE-019C-45D3-9FA1-D56B288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045" y="809346"/>
            <a:ext cx="10797708" cy="853141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a-DK" sz="3600" b="1" dirty="0">
                <a:solidFill>
                  <a:schemeClr val="tx1"/>
                </a:solidFill>
              </a:rPr>
              <a:t>Coop ambas bestyrelse</a:t>
            </a:r>
            <a:endParaRPr lang="da-DK" sz="3600" b="1" dirty="0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E97FA6F2-246A-44BE-99D3-85D84B5CCEC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968188" y="1943692"/>
            <a:ext cx="4769224" cy="4287838"/>
          </a:xfrm>
        </p:spPr>
        <p:txBody>
          <a:bodyPr/>
          <a:lstStyle/>
          <a:p>
            <a:pPr marL="0" indent="0">
              <a:buNone/>
            </a:pPr>
            <a:r>
              <a:rPr lang="da-DK" sz="1800" b="1" dirty="0">
                <a:solidFill>
                  <a:schemeClr val="tx1"/>
                </a:solidFill>
              </a:rPr>
              <a:t>Mads Svaneklink</a:t>
            </a:r>
            <a:endParaRPr lang="da-DK" sz="1800" b="1" dirty="0"/>
          </a:p>
          <a:p>
            <a:pPr marL="0" indent="0">
              <a:buNone/>
            </a:pPr>
            <a:r>
              <a:rPr lang="da-DK" sz="1400" b="1" dirty="0"/>
              <a:t>Bestyrelsesmedlem</a:t>
            </a:r>
          </a:p>
          <a:p>
            <a:pPr marL="0" indent="0">
              <a:buNone/>
            </a:pPr>
            <a:endParaRPr lang="da-DK" sz="12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da-DK" sz="1200" b="1" dirty="0">
                <a:solidFill>
                  <a:schemeClr val="tx1"/>
                </a:solidFill>
              </a:rPr>
              <a:t>TEMAER</a:t>
            </a:r>
          </a:p>
          <a:p>
            <a:r>
              <a:rPr lang="da-DK" sz="1200" dirty="0">
                <a:ea typeface="Calibri" panose="020F0502020204030204" pitchFamily="34" charset="0"/>
              </a:rPr>
              <a:t>Kunsten at eje noget sammen: Hvordan bliver der plads til at tænke på OS i en tid med meget fokus på MIG </a:t>
            </a:r>
          </a:p>
          <a:p>
            <a:r>
              <a:rPr lang="da-DK" sz="1200" dirty="0">
                <a:ea typeface="Calibri" panose="020F0502020204030204" pitchFamily="34" charset="0"/>
              </a:rPr>
              <a:t>En samtale om andelsbevægelsens store dilemmaer;</a:t>
            </a:r>
          </a:p>
          <a:p>
            <a:pPr lvl="1"/>
            <a:r>
              <a:rPr lang="da-DK" sz="1200" dirty="0">
                <a:ea typeface="Calibri" panose="020F0502020204030204" pitchFamily="34" charset="0"/>
              </a:rPr>
              <a:t>Fra den første andelsbutik til i dag hvor ungdommen skal vælge om de vil andelstanken eller ej</a:t>
            </a:r>
          </a:p>
          <a:p>
            <a:r>
              <a:rPr lang="da-DK" sz="1200" dirty="0">
                <a:ea typeface="Calibri" panose="020F0502020204030204" pitchFamily="34" charset="0"/>
              </a:rPr>
              <a:t>Kampen for de gode kvalitetsvarer: Når vi handler, handler det om hvad vi putter i munden</a:t>
            </a:r>
          </a:p>
          <a:p>
            <a:r>
              <a:rPr lang="da-DK" sz="1200" dirty="0">
                <a:ea typeface="Calibri" panose="020F0502020204030204" pitchFamily="34" charset="0"/>
              </a:rPr>
              <a:t>Et blik på hvordan Coop dagligt kæmper en kamp for de gode dagligvarer og den gode smag</a:t>
            </a:r>
          </a:p>
          <a:p>
            <a:endParaRPr lang="da-DK" sz="1200" dirty="0">
              <a:effectLst/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da-DK" sz="1200" dirty="0">
                <a:effectLst/>
                <a:ea typeface="Calibri" panose="020F0502020204030204" pitchFamily="34" charset="0"/>
              </a:rPr>
              <a:t>Kontakt</a:t>
            </a:r>
          </a:p>
          <a:p>
            <a:pPr marL="0" indent="0">
              <a:buNone/>
            </a:pPr>
            <a:r>
              <a:rPr lang="da-DK" sz="1200" dirty="0">
                <a:effectLst/>
                <a:ea typeface="Calibri" panose="020F0502020204030204" pitchFamily="34" charset="0"/>
                <a:hlinkClick r:id="rId5"/>
              </a:rPr>
              <a:t>mads.svaneklink@gmail.com</a:t>
            </a:r>
            <a:r>
              <a:rPr lang="da-DK" sz="1200" dirty="0">
                <a:effectLst/>
                <a:ea typeface="Calibri" panose="020F0502020204030204" pitchFamily="34" charset="0"/>
              </a:rPr>
              <a:t> </a:t>
            </a:r>
            <a:endParaRPr lang="da-DK" sz="1200" dirty="0">
              <a:latin typeface="COOP" panose="02010504010101010104" pitchFamily="2" charset="0"/>
            </a:endParaRPr>
          </a:p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a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800" dirty="0">
              <a:latin typeface="COOP" panose="02010504010101010104" pitchFamily="2" charset="0"/>
            </a:endParaRPr>
          </a:p>
        </p:txBody>
      </p:sp>
      <p:pic>
        <p:nvPicPr>
          <p:cNvPr id="5" name="Billede 4" descr="Et billede, der indeholder Ansigt, tøj, person, mur&#10;&#10;Automatisk genereret beskrivelse">
            <a:extLst>
              <a:ext uri="{FF2B5EF4-FFF2-40B4-BE49-F238E27FC236}">
                <a16:creationId xmlns:a16="http://schemas.microsoft.com/office/drawing/2014/main" id="{FAC0340F-2F6A-2D12-769A-476995FDA32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2729" y="2312893"/>
            <a:ext cx="4250979" cy="28328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490109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FBD1CEA-3001-4F8A-9950-62F76A4127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FBD1CEA-3001-4F8A-9950-62F76A412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DFF0CCFE-019C-45D3-9FA1-D56B288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045" y="809346"/>
            <a:ext cx="10797708" cy="853141"/>
          </a:xfrm>
        </p:spPr>
        <p:txBody>
          <a:bodyPr>
            <a:normAutofit/>
          </a:bodyPr>
          <a:lstStyle/>
          <a:p>
            <a:pPr algn="ctr"/>
            <a:r>
              <a:rPr lang="da-DK" sz="3300" dirty="0">
                <a:solidFill>
                  <a:schemeClr val="tx1"/>
                </a:solidFill>
              </a:rPr>
              <a:t>Coop ambas bestyrelse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E97FA6F2-246A-44BE-99D3-85D84B5CCEC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918041" y="1760816"/>
            <a:ext cx="5633418" cy="4287838"/>
          </a:xfrm>
        </p:spPr>
        <p:txBody>
          <a:bodyPr/>
          <a:lstStyle/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800" b="1" dirty="0"/>
              <a:t>Carsten Bank-Mikkelsen</a:t>
            </a:r>
            <a:endParaRPr lang="da-DK" sz="18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da-DK" sz="1400" b="1" dirty="0"/>
              <a:t>Bestyrelsesmedlem Coop amba</a:t>
            </a:r>
          </a:p>
          <a:p>
            <a:pPr marL="0" indent="0">
              <a:buNone/>
            </a:pPr>
            <a:endParaRPr lang="da-DK" sz="12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da-DK" sz="1200" b="1" dirty="0"/>
              <a:t>TEMAER</a:t>
            </a:r>
            <a:endParaRPr lang="da-DK" sz="1200" b="1" dirty="0">
              <a:solidFill>
                <a:schemeClr val="tx1"/>
              </a:solidFill>
            </a:endParaRPr>
          </a:p>
          <a:p>
            <a:r>
              <a:rPr lang="da-DK" sz="1200" dirty="0">
                <a:ea typeface="Calibri" panose="020F0502020204030204" pitchFamily="34" charset="0"/>
              </a:rPr>
              <a:t>H</a:t>
            </a:r>
            <a:r>
              <a:rPr lang="da-DK" sz="1200" dirty="0">
                <a:effectLst/>
                <a:ea typeface="Calibri" panose="020F0502020204030204" pitchFamily="34" charset="0"/>
              </a:rPr>
              <a:t>vordan bliver din butik relevant for medlemmerne</a:t>
            </a:r>
          </a:p>
          <a:p>
            <a:r>
              <a:rPr lang="da-DK" sz="1200" dirty="0">
                <a:effectLst/>
                <a:ea typeface="Calibri" panose="020F0502020204030204" pitchFamily="34" charset="0"/>
              </a:rPr>
              <a:t>Fremtidens Coop</a:t>
            </a:r>
          </a:p>
          <a:p>
            <a:r>
              <a:rPr lang="da-DK" sz="1200" dirty="0">
                <a:ea typeface="Calibri" panose="020F0502020204030204" pitchFamily="34" charset="0"/>
              </a:rPr>
              <a:t>Bestyrelsesarbejdet i Coop</a:t>
            </a:r>
          </a:p>
          <a:p>
            <a:endParaRPr lang="da-DK" sz="1200" dirty="0">
              <a:effectLst/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da-DK" sz="1200" dirty="0">
                <a:ea typeface="Calibri" panose="020F0502020204030204" pitchFamily="34" charset="0"/>
              </a:rPr>
              <a:t>Kontakt</a:t>
            </a:r>
          </a:p>
          <a:p>
            <a:pPr marL="0" indent="0">
              <a:buNone/>
            </a:pPr>
            <a:r>
              <a:rPr lang="da-DK" sz="1200" dirty="0">
                <a:ea typeface="Calibri" panose="020F0502020204030204" pitchFamily="34" charset="0"/>
                <a:hlinkClick r:id="rId5"/>
              </a:rPr>
              <a:t>cbm@reacto.dk</a:t>
            </a:r>
            <a:r>
              <a:rPr lang="da-DK" sz="1200" dirty="0">
                <a:ea typeface="Calibri" panose="020F0502020204030204" pitchFamily="34" charset="0"/>
              </a:rPr>
              <a:t> </a:t>
            </a:r>
          </a:p>
          <a:p>
            <a:pPr marL="0" indent="0">
              <a:buNone/>
            </a:pPr>
            <a:r>
              <a:rPr lang="da-DK" sz="1200" dirty="0">
                <a:effectLst/>
                <a:ea typeface="Calibri" panose="020F0502020204030204" pitchFamily="34" charset="0"/>
              </a:rPr>
              <a:t>	</a:t>
            </a:r>
            <a:endParaRPr lang="da-DK" sz="14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</a:endParaRPr>
          </a:p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2">
              <a:lnSpc>
                <a:spcPct val="107000"/>
              </a:lnSpc>
              <a:spcAft>
                <a:spcPts val="800"/>
              </a:spcAft>
            </a:pPr>
            <a:endParaRPr lang="da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800" dirty="0">
              <a:latin typeface="COOP" panose="02010504010101010104" pitchFamily="2" charset="0"/>
            </a:endParaRPr>
          </a:p>
        </p:txBody>
      </p:sp>
      <p:pic>
        <p:nvPicPr>
          <p:cNvPr id="5" name="Billede 4" descr="Et billede, der indeholder Ansigt, tøj, smil, person&#10;&#10;Automatisk genereret beskrivelse">
            <a:extLst>
              <a:ext uri="{FF2B5EF4-FFF2-40B4-BE49-F238E27FC236}">
                <a16:creationId xmlns:a16="http://schemas.microsoft.com/office/drawing/2014/main" id="{A1F4FBD6-F1CF-2FB8-C2F4-02B6332A813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43317" y="1760816"/>
            <a:ext cx="2809706" cy="42153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43036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FBD1CEA-3001-4F8A-9950-62F76A4127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FBD1CEA-3001-4F8A-9950-62F76A412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DFF0CCFE-019C-45D3-9FA1-D56B288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045" y="809346"/>
            <a:ext cx="10797708" cy="853141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a-DK" sz="3600" b="1" dirty="0">
                <a:solidFill>
                  <a:schemeClr val="tx1"/>
                </a:solidFill>
              </a:rPr>
              <a:t>Coop ambas bestyrelse</a:t>
            </a:r>
            <a:endParaRPr lang="da-DK" sz="3600" b="1" dirty="0"/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E97FA6F2-246A-44BE-99D3-85D84B5CCEC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0" y="1768884"/>
            <a:ext cx="4982891" cy="4287838"/>
          </a:xfrm>
        </p:spPr>
        <p:txBody>
          <a:bodyPr/>
          <a:lstStyle/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800" b="1" dirty="0">
                <a:solidFill>
                  <a:schemeClr val="tx1"/>
                </a:solidFill>
              </a:rPr>
              <a:t>Kristian Herlufsen</a:t>
            </a:r>
            <a:endParaRPr lang="da-DK" sz="1800" b="1" dirty="0"/>
          </a:p>
          <a:p>
            <a:pPr marL="0" indent="0">
              <a:buNone/>
            </a:pPr>
            <a:r>
              <a:rPr lang="da-DK" sz="1400" b="1" dirty="0">
                <a:solidFill>
                  <a:schemeClr val="tx1"/>
                </a:solidFill>
              </a:rPr>
              <a:t>B</a:t>
            </a:r>
            <a:r>
              <a:rPr lang="da-DK" sz="1400" b="1" dirty="0"/>
              <a:t>estyrelsesmedlem og journalist på Samvirke</a:t>
            </a:r>
          </a:p>
          <a:p>
            <a:pPr marL="0" indent="0">
              <a:buNone/>
            </a:pPr>
            <a:endParaRPr lang="da-DK" sz="12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da-DK" sz="1200" b="1" dirty="0"/>
              <a:t>TEMAER</a:t>
            </a:r>
            <a:endParaRPr lang="da-DK" sz="1200" b="1" dirty="0">
              <a:solidFill>
                <a:schemeClr val="tx1"/>
              </a:solidFill>
            </a:endParaRPr>
          </a:p>
          <a:p>
            <a:r>
              <a:rPr lang="da-DK" sz="1200" dirty="0">
                <a:ea typeface="Calibri" panose="020F0502020204030204" pitchFamily="34" charset="0"/>
              </a:rPr>
              <a:t>Emballage og plastik. Kan vi undvære dem og hvad er den virkelige klimasynder?</a:t>
            </a:r>
          </a:p>
          <a:p>
            <a:r>
              <a:rPr lang="da-DK" sz="1200" dirty="0">
                <a:solidFill>
                  <a:srgbClr val="FF0000"/>
                </a:solidFill>
                <a:effectLst/>
                <a:ea typeface="Calibri" panose="020F0502020204030204" pitchFamily="34" charset="0"/>
              </a:rPr>
              <a:t>Evt tilføjelse om Coop Analyse?</a:t>
            </a:r>
          </a:p>
          <a:p>
            <a:pPr marL="0" indent="0">
              <a:buNone/>
            </a:pPr>
            <a:endParaRPr lang="da-DK" sz="1200" dirty="0">
              <a:effectLst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da-DK" sz="1200" dirty="0">
              <a:effectLst/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da-DK" sz="1200" dirty="0">
                <a:effectLst/>
                <a:ea typeface="Calibri" panose="020F0502020204030204" pitchFamily="34" charset="0"/>
              </a:rPr>
              <a:t>Kontakt</a:t>
            </a:r>
          </a:p>
          <a:p>
            <a:pPr marL="0" indent="0">
              <a:buNone/>
            </a:pPr>
            <a:r>
              <a:rPr lang="da-DK" sz="1200" dirty="0">
                <a:effectLst/>
                <a:ea typeface="Calibri" panose="020F0502020204030204" pitchFamily="34" charset="0"/>
                <a:hlinkClick r:id="rId5"/>
              </a:rPr>
              <a:t>kristian.herlufsen@coop.dk</a:t>
            </a:r>
            <a:r>
              <a:rPr lang="da-DK" sz="1200" dirty="0">
                <a:effectLst/>
                <a:ea typeface="Calibri" panose="020F0502020204030204" pitchFamily="34" charset="0"/>
              </a:rPr>
              <a:t> </a:t>
            </a:r>
            <a:endParaRPr lang="da-DK" sz="14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</a:endParaRPr>
          </a:p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a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800" dirty="0">
              <a:latin typeface="COOP" panose="02010504010101010104" pitchFamily="2" charset="0"/>
            </a:endParaRPr>
          </a:p>
        </p:txBody>
      </p:sp>
      <p:pic>
        <p:nvPicPr>
          <p:cNvPr id="5" name="Billede 4" descr="Et billede, der indeholder person, mand&#10;&#10;Automatisk genereret beskrivelse">
            <a:extLst>
              <a:ext uri="{FF2B5EF4-FFF2-40B4-BE49-F238E27FC236}">
                <a16:creationId xmlns:a16="http://schemas.microsoft.com/office/drawing/2014/main" id="{DFBFC2C0-3A01-4500-985A-7DD08CDAA31F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75677" y="1897454"/>
            <a:ext cx="2687132" cy="40306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915668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6B471D2-22BB-4C1E-BE4B-8F3479AA57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6B471D2-22BB-4C1E-BE4B-8F3479AA57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54D74E8-82C6-47AC-AFCC-0DDD505DF5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5324" y="628651"/>
            <a:ext cx="10747259" cy="2635842"/>
          </a:xfrm>
        </p:spPr>
        <p:txBody>
          <a:bodyPr vert="horz">
            <a:normAutofit/>
          </a:bodyPr>
          <a:lstStyle/>
          <a:p>
            <a:r>
              <a:rPr lang="da-DK" sz="5000" dirty="0"/>
              <a:t>Katalog over interne og eksterne oplægsholdere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61054B63-872B-41DE-AE25-2ABBAB0448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5" y="3593508"/>
            <a:ext cx="10747258" cy="609376"/>
          </a:xfrm>
        </p:spPr>
        <p:txBody>
          <a:bodyPr>
            <a:normAutofit lnSpcReduction="10000"/>
          </a:bodyPr>
          <a:lstStyle/>
          <a:p>
            <a:r>
              <a:rPr lang="da-DK" sz="1400" dirty="0">
                <a:latin typeface="COOP" panose="02010504010101010104" pitchFamily="2" charset="0"/>
              </a:rPr>
              <a:t>På de følgende sider, finder I en række eksterne aktører og interne Coop-profiler, som I kan booke til jeres årsmøde eller generalforsamling. Her finder I bl.a. medlemmer fra Coop ambas bestyrelse, Tænketanken Demokratisk Erhverv, Coops Ungeminister, Samvirkes medarbejdere, Coop Crowdfunding og Coops klima- og energiteams.</a:t>
            </a:r>
            <a:endParaRPr lang="da-DK" sz="1400" i="1" dirty="0"/>
          </a:p>
        </p:txBody>
      </p:sp>
    </p:spTree>
    <p:extLst>
      <p:ext uri="{BB962C8B-B14F-4D97-AF65-F5344CB8AC3E}">
        <p14:creationId xmlns:p14="http://schemas.microsoft.com/office/powerpoint/2010/main" val="333687208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FBD1CEA-3001-4F8A-9950-62F76A4127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FBD1CEA-3001-4F8A-9950-62F76A412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DFF0CCFE-019C-45D3-9FA1-D56B288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045" y="809346"/>
            <a:ext cx="10797708" cy="853141"/>
          </a:xfrm>
        </p:spPr>
        <p:txBody>
          <a:bodyPr>
            <a:normAutofit/>
          </a:bodyPr>
          <a:lstStyle/>
          <a:p>
            <a:pPr algn="ctr"/>
            <a:r>
              <a:rPr lang="da-DK" sz="3300" dirty="0">
                <a:solidFill>
                  <a:schemeClr val="tx1"/>
                </a:solidFill>
              </a:rPr>
              <a:t>Coop ambas og Coop Danmarks bestyrelse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E97FA6F2-246A-44BE-99D3-85D84B5CCEC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448700" y="1662487"/>
            <a:ext cx="5633418" cy="4287838"/>
          </a:xfrm>
        </p:spPr>
        <p:txBody>
          <a:bodyPr/>
          <a:lstStyle/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800" b="1" dirty="0"/>
              <a:t>Peter Nielsen</a:t>
            </a:r>
          </a:p>
          <a:p>
            <a:pPr marL="0" indent="0">
              <a:buNone/>
            </a:pPr>
            <a:r>
              <a:rPr lang="da-DK" sz="1400" b="1" dirty="0"/>
              <a:t>Bestyrelsesmedlem i Coop amba og Coop Danmark</a:t>
            </a:r>
          </a:p>
          <a:p>
            <a:pPr marL="0" indent="0">
              <a:buNone/>
            </a:pPr>
            <a:endParaRPr lang="da-DK" sz="12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da-DK" sz="12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r>
              <a:rPr lang="da-DK" sz="1200" b="1" dirty="0"/>
              <a:t>TEMAER</a:t>
            </a:r>
            <a:endParaRPr lang="da-DK" sz="1200" b="1" dirty="0">
              <a:solidFill>
                <a:schemeClr val="tx1"/>
              </a:solidFill>
            </a:endParaRPr>
          </a:p>
          <a:p>
            <a:r>
              <a:rPr lang="da-DK" sz="1200" dirty="0">
                <a:effectLst/>
                <a:ea typeface="Calibri" panose="020F0502020204030204" pitchFamily="34" charset="0"/>
              </a:rPr>
              <a:t>Fremtidens Coop – Coops spændende fremtid</a:t>
            </a:r>
          </a:p>
          <a:p>
            <a:r>
              <a:rPr lang="da-DK" sz="1200" dirty="0">
                <a:ea typeface="Calibri" panose="020F0502020204030204" pitchFamily="34" charset="0"/>
              </a:rPr>
              <a:t>Bestyrelsesarbejdet i Coop amba</a:t>
            </a:r>
          </a:p>
          <a:p>
            <a:r>
              <a:rPr lang="da-DK" sz="1200" dirty="0">
                <a:ea typeface="Calibri" panose="020F0502020204030204" pitchFamily="34" charset="0"/>
              </a:rPr>
              <a:t>Bestyrelsesarbejdet i Coop Danmark</a:t>
            </a:r>
          </a:p>
          <a:p>
            <a:endParaRPr lang="da-DK" sz="1200" dirty="0">
              <a:effectLst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da-DK" sz="1200" dirty="0">
              <a:effectLst/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da-DK" sz="1200" dirty="0">
                <a:ea typeface="Calibri" panose="020F0502020204030204" pitchFamily="34" charset="0"/>
              </a:rPr>
              <a:t>Kontakt</a:t>
            </a:r>
          </a:p>
          <a:p>
            <a:pPr marL="0" indent="0">
              <a:buNone/>
            </a:pPr>
            <a:r>
              <a:rPr lang="da-DK" sz="1200" dirty="0">
                <a:ea typeface="Calibri" panose="020F0502020204030204" pitchFamily="34" charset="0"/>
                <a:hlinkClick r:id="rId5"/>
              </a:rPr>
              <a:t>peter.nielsen750@gmail.com</a:t>
            </a:r>
            <a:r>
              <a:rPr lang="da-DK" sz="1200" dirty="0">
                <a:ea typeface="Calibri" panose="020F0502020204030204" pitchFamily="34" charset="0"/>
              </a:rPr>
              <a:t> </a:t>
            </a:r>
          </a:p>
          <a:p>
            <a:pPr marL="0" indent="0">
              <a:buNone/>
            </a:pPr>
            <a:endParaRPr lang="da-DK" sz="1200" dirty="0"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da-DK" sz="1200" dirty="0">
                <a:effectLst/>
                <a:ea typeface="Calibri" panose="020F0502020204030204" pitchFamily="34" charset="0"/>
              </a:rPr>
              <a:t>	</a:t>
            </a:r>
            <a:endParaRPr lang="da-DK" sz="14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</a:endParaRPr>
          </a:p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2">
              <a:lnSpc>
                <a:spcPct val="107000"/>
              </a:lnSpc>
              <a:spcAft>
                <a:spcPts val="800"/>
              </a:spcAft>
            </a:pPr>
            <a:endParaRPr lang="da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800" dirty="0">
              <a:latin typeface="COOP" panose="02010504010101010104" pitchFamily="2" charset="0"/>
            </a:endParaRPr>
          </a:p>
        </p:txBody>
      </p:sp>
      <p:pic>
        <p:nvPicPr>
          <p:cNvPr id="3" name="Billede 2" descr="Et billede, der indeholder Ansigt, person, tøj, skjorte/bluse/T-shirt&#10;&#10;Automatisk genereret beskrivelse">
            <a:extLst>
              <a:ext uri="{FF2B5EF4-FFF2-40B4-BE49-F238E27FC236}">
                <a16:creationId xmlns:a16="http://schemas.microsoft.com/office/drawing/2014/main" id="{3F618E1C-4A8E-AC8D-3362-9C5B412EB8AD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80730" y="1662487"/>
            <a:ext cx="2743199" cy="41147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42467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FBD1CEA-3001-4F8A-9950-62F76A4127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FBD1CEA-3001-4F8A-9950-62F76A412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DFF0CCFE-019C-45D3-9FA1-D56B288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045" y="809346"/>
            <a:ext cx="10797708" cy="853141"/>
          </a:xfrm>
        </p:spPr>
        <p:txBody>
          <a:bodyPr>
            <a:normAutofit/>
          </a:bodyPr>
          <a:lstStyle/>
          <a:p>
            <a:pPr algn="ctr"/>
            <a:r>
              <a:rPr lang="da-DK" sz="3200" dirty="0">
                <a:solidFill>
                  <a:schemeClr val="tx1"/>
                </a:solidFill>
              </a:rPr>
              <a:t>Coop ambas og Coop Danmarks bestyrelse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E97FA6F2-246A-44BE-99D3-85D84B5CCEC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720316" y="1857639"/>
            <a:ext cx="5603357" cy="4287838"/>
          </a:xfrm>
        </p:spPr>
        <p:txBody>
          <a:bodyPr/>
          <a:lstStyle/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800" b="1" dirty="0">
                <a:solidFill>
                  <a:schemeClr val="tx1"/>
                </a:solidFill>
              </a:rPr>
              <a:t>Christian Busch</a:t>
            </a:r>
            <a:endParaRPr lang="da-DK" sz="1800" b="1" dirty="0"/>
          </a:p>
          <a:p>
            <a:pPr marL="0" indent="0">
              <a:buNone/>
            </a:pPr>
            <a:r>
              <a:rPr lang="da-DK" sz="1400" b="1" dirty="0">
                <a:solidFill>
                  <a:schemeClr val="tx1"/>
                </a:solidFill>
              </a:rPr>
              <a:t>Næstformand Coop ambas bestyrelse &amp; bestyrelsesmedlem i Coop Danmark</a:t>
            </a:r>
            <a:endParaRPr lang="da-DK" sz="1400" b="1" dirty="0"/>
          </a:p>
          <a:p>
            <a:pPr marL="0" indent="0">
              <a:buNone/>
            </a:pPr>
            <a:endParaRPr lang="da-DK" sz="1200" b="1" dirty="0">
              <a:solidFill>
                <a:schemeClr val="tx1"/>
              </a:solidFill>
            </a:endParaRPr>
          </a:p>
          <a:p>
            <a:pPr marL="0" indent="0">
              <a:buNone/>
            </a:pPr>
            <a:endParaRPr lang="da-DK" sz="1200" b="1" dirty="0"/>
          </a:p>
          <a:p>
            <a:pPr marL="0" indent="0">
              <a:buNone/>
            </a:pPr>
            <a:r>
              <a:rPr lang="da-DK" sz="1200" b="1" dirty="0"/>
              <a:t>TEMAER</a:t>
            </a:r>
            <a:endParaRPr lang="da-DK" sz="1200" b="1" dirty="0">
              <a:solidFill>
                <a:schemeClr val="tx1"/>
              </a:solidFill>
            </a:endParaRPr>
          </a:p>
          <a:p>
            <a:r>
              <a:rPr lang="da-DK" sz="1200" dirty="0">
                <a:effectLst/>
                <a:ea typeface="Calibri" panose="020F0502020204030204" pitchFamily="34" charset="0"/>
              </a:rPr>
              <a:t>Coop indefra</a:t>
            </a:r>
          </a:p>
          <a:p>
            <a:r>
              <a:rPr lang="da-DK" sz="1200" dirty="0">
                <a:ea typeface="Calibri" panose="020F0502020204030204" pitchFamily="34" charset="0"/>
              </a:rPr>
              <a:t>Bestyrelsesarbejdet i Coop amba og Coop Danmark</a:t>
            </a:r>
          </a:p>
          <a:p>
            <a:endParaRPr lang="da-DK" sz="1200" dirty="0">
              <a:effectLst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da-DK" sz="1200" dirty="0">
              <a:effectLst/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da-DK" sz="1200" dirty="0">
                <a:effectLst/>
                <a:ea typeface="Calibri" panose="020F0502020204030204" pitchFamily="34" charset="0"/>
              </a:rPr>
              <a:t>Kontakt</a:t>
            </a:r>
          </a:p>
          <a:p>
            <a:pPr marL="0" indent="0">
              <a:buNone/>
            </a:pPr>
            <a:r>
              <a:rPr lang="da-DK" sz="1200" dirty="0">
                <a:effectLst/>
                <a:ea typeface="Calibri" panose="020F0502020204030204" pitchFamily="34" charset="0"/>
                <a:hlinkClick r:id="rId5"/>
              </a:rPr>
              <a:t>busch@aarslevnet.dk</a:t>
            </a:r>
            <a:r>
              <a:rPr lang="da-DK" sz="1200" dirty="0">
                <a:effectLst/>
                <a:ea typeface="Calibri" panose="020F0502020204030204" pitchFamily="34" charset="0"/>
              </a:rPr>
              <a:t> </a:t>
            </a:r>
          </a:p>
          <a:p>
            <a:pPr marL="0" indent="0">
              <a:buNone/>
            </a:pPr>
            <a:endParaRPr lang="da-DK" sz="14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</a:endParaRPr>
          </a:p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a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800" dirty="0">
              <a:latin typeface="COOP" panose="02010504010101010104" pitchFamily="2" charset="0"/>
            </a:endParaRPr>
          </a:p>
        </p:txBody>
      </p:sp>
      <p:pic>
        <p:nvPicPr>
          <p:cNvPr id="3" name="Billede 2" descr="Et billede, der indeholder person, mand&#10;&#10;Automatisk genereret beskrivelse">
            <a:extLst>
              <a:ext uri="{FF2B5EF4-FFF2-40B4-BE49-F238E27FC236}">
                <a16:creationId xmlns:a16="http://schemas.microsoft.com/office/drawing/2014/main" id="{2C723303-CC79-4BB1-8B9F-483D07692BF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41200" y="1772579"/>
            <a:ext cx="2962428" cy="44420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8428925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FBD1CEA-3001-4F8A-9950-62F76A4127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FBD1CEA-3001-4F8A-9950-62F76A412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DFF0CCFE-019C-45D3-9FA1-D56B288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57781" y="809346"/>
            <a:ext cx="9995702" cy="853141"/>
          </a:xfrm>
        </p:spPr>
        <p:txBody>
          <a:bodyPr>
            <a:normAutofit fontScale="90000"/>
          </a:bodyPr>
          <a:lstStyle/>
          <a:p>
            <a:pPr marL="0" indent="0">
              <a:buNone/>
            </a:pPr>
            <a:r>
              <a:rPr lang="da-DK" sz="3200" b="1" dirty="0">
                <a:solidFill>
                  <a:schemeClr val="tx1"/>
                </a:solidFill>
                <a:latin typeface="COOP" panose="02010504010101010104" pitchFamily="2" charset="0"/>
              </a:rPr>
              <a:t>Tænketanken Demokratisk Erhverv &amp; </a:t>
            </a:r>
            <a:r>
              <a:rPr lang="da-DK" sz="3200" b="1" dirty="0" err="1">
                <a:solidFill>
                  <a:schemeClr val="tx1"/>
                </a:solidFill>
                <a:latin typeface="COOP" panose="02010504010101010104" pitchFamily="2" charset="0"/>
              </a:rPr>
              <a:t>TalentLAB</a:t>
            </a:r>
            <a:endParaRPr lang="da-DK" sz="3200" b="1" dirty="0">
              <a:solidFill>
                <a:schemeClr val="tx1"/>
              </a:solidFill>
              <a:latin typeface="COOP" panose="02010504010101010104" pitchFamily="2" charset="0"/>
            </a:endParaRP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E97FA6F2-246A-44BE-99D3-85D84B5CCEC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507666" y="1805654"/>
            <a:ext cx="5826642" cy="3732028"/>
          </a:xfrm>
        </p:spPr>
        <p:txBody>
          <a:bodyPr/>
          <a:lstStyle/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</a:endParaRPr>
          </a:p>
          <a:p>
            <a:pPr marL="0" indent="0">
              <a:buNone/>
            </a:pPr>
            <a:r>
              <a:rPr lang="da-DK" sz="1200" b="1" dirty="0">
                <a:latin typeface="COOP" panose="02010504010101010104" pitchFamily="2" charset="0"/>
              </a:rPr>
              <a:t>TEMAER</a:t>
            </a:r>
          </a:p>
          <a:p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or få unge i beslutningslokalerne?</a:t>
            </a: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Ungeekspert og projektleder på </a:t>
            </a:r>
            <a:r>
              <a:rPr lang="da-DK" sz="1200" dirty="0" err="1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alentLAB</a:t>
            </a: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, Signe </a:t>
            </a:r>
            <a:r>
              <a:rPr lang="da-DK" sz="1200" dirty="0" err="1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Vahlun</a:t>
            </a: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holder oplæg om virksomhedernes unge-</a:t>
            </a:r>
            <a:r>
              <a:rPr lang="da-DK" sz="1200" dirty="0" err="1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udfodring</a:t>
            </a: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og </a:t>
            </a:r>
            <a:r>
              <a:rPr lang="da-DK" sz="1200" dirty="0" err="1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alentLAB</a:t>
            </a: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. Demokratisk </a:t>
            </a:r>
            <a:r>
              <a:rPr lang="da-DK" sz="1200" dirty="0" err="1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alentLAB</a:t>
            </a: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er et projekt, der skal sikre et bæredygtigt generationsskifte i de virksomheder, vi ejer sammen, ved at få de unge ind i beslutningslokalerne. Vi analysere udfordringen og fremhæver de bedste redskaber.</a:t>
            </a:r>
          </a:p>
          <a:p>
            <a:endParaRPr lang="da-DK" sz="1200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Det erhvervsdemokratiske landskab</a:t>
            </a: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dministrerede direktør Jens Jonatan Steen eller seniorkonsulent og økonom Troels </a:t>
            </a:r>
            <a:r>
              <a:rPr lang="da-DK" sz="1200" dirty="0" err="1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andøe</a:t>
            </a: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Glæsner holder oplæg om potentialet i det demokratiske ejerskab. Med afsæt i tænketankens årlige kortlægning af det demokratiske </a:t>
            </a:r>
            <a:r>
              <a:rPr lang="da-DK" sz="1200" dirty="0" err="1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ejerkab</a:t>
            </a: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giver vi indblik i erhvervsdemokratiets nuværende og fremtidige potentialer.</a:t>
            </a:r>
            <a:endParaRPr lang="da-DK" sz="1200" dirty="0">
              <a:latin typeface="COOP" panose="02010504010101010104" pitchFamily="2" charset="0"/>
            </a:endParaRPr>
          </a:p>
          <a:p>
            <a:pPr marL="0" indent="0">
              <a:buNone/>
            </a:pPr>
            <a:endParaRPr lang="da-DK" sz="1800" dirty="0">
              <a:latin typeface="COOP" panose="02010504010101010104" pitchFamily="2" charset="0"/>
            </a:endParaRP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ECDEB65B-8F64-4FE8-A6F8-08361040412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57781" y="5455990"/>
            <a:ext cx="5038219" cy="520616"/>
          </a:xfrm>
          <a:prstGeom prst="rect">
            <a:avLst/>
          </a:prstGeom>
        </p:spPr>
      </p:pic>
      <p:sp>
        <p:nvSpPr>
          <p:cNvPr id="3" name="Tekstfelt 2">
            <a:extLst>
              <a:ext uri="{FF2B5EF4-FFF2-40B4-BE49-F238E27FC236}">
                <a16:creationId xmlns:a16="http://schemas.microsoft.com/office/drawing/2014/main" id="{01E47CF2-2E27-B0D4-CEE1-4B7F6A6D1485}"/>
              </a:ext>
            </a:extLst>
          </p:cNvPr>
          <p:cNvSpPr txBox="1"/>
          <p:nvPr/>
        </p:nvSpPr>
        <p:spPr>
          <a:xfrm>
            <a:off x="685640" y="1907036"/>
            <a:ext cx="4651904" cy="34163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indent="0">
              <a:buNone/>
            </a:pPr>
            <a: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Jens Jonathan Steen</a:t>
            </a:r>
            <a:b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Administrerende direktør</a:t>
            </a:r>
            <a:b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ænketanken Demokratisk Erhverv</a:t>
            </a:r>
          </a:p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roels </a:t>
            </a:r>
            <a:r>
              <a:rPr lang="da-DK" sz="1200" b="1" dirty="0" err="1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andøe</a:t>
            </a:r>
            <a: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Glæsner</a:t>
            </a:r>
            <a:b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eniorkonsulent &amp; økonom</a:t>
            </a:r>
            <a:b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ænketanken Demokratisk Erhverv</a:t>
            </a:r>
          </a:p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igne </a:t>
            </a:r>
            <a:r>
              <a:rPr lang="da-DK" sz="1200" b="1" dirty="0" err="1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Vahlun</a:t>
            </a:r>
            <a:b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Projektleder</a:t>
            </a:r>
            <a:b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da-DK" sz="1200" b="1" dirty="0" err="1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alentLAB</a:t>
            </a: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cs typeface="Times New Roman" panose="02020603050405020304" pitchFamily="18" charset="0"/>
              </a:rPr>
              <a:t>Kontakt</a:t>
            </a: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cs typeface="Times New Roman" panose="02020603050405020304" pitchFamily="18" charset="0"/>
                <a:hlinkClick r:id="rId6"/>
              </a:rPr>
              <a:t>info@demokratiskerhverv.dk</a:t>
            </a:r>
            <a:r>
              <a:rPr lang="da-DK" sz="1200" dirty="0">
                <a:latin typeface="COOP" panose="02010504010101010104" pitchFamily="2" charset="0"/>
                <a:cs typeface="Times New Roman" panose="02020603050405020304" pitchFamily="18" charset="0"/>
              </a:rPr>
              <a:t> </a:t>
            </a:r>
          </a:p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b="1" dirty="0">
                <a:latin typeface="COOP" panose="02010504010101010104" pitchFamily="2" charset="0"/>
                <a:cs typeface="Times New Roman" panose="02020603050405020304" pitchFamily="18" charset="0"/>
              </a:rPr>
              <a:t>Bemærk! Der beregnes honorar og rejseudgifter</a:t>
            </a: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7537048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 descr="Et billede, der indeholder tekst, person, mand, poserer&#10;&#10;Automatisk genereret beskrivelse">
            <a:extLst>
              <a:ext uri="{FF2B5EF4-FFF2-40B4-BE49-F238E27FC236}">
                <a16:creationId xmlns:a16="http://schemas.microsoft.com/office/drawing/2014/main" id="{A722EE19-C68C-46CE-84D6-2AB55281C4C2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02408" y="1666885"/>
            <a:ext cx="2877774" cy="3524230"/>
          </a:xfrm>
          <a:prstGeom prst="rect">
            <a:avLst/>
          </a:prstGeom>
        </p:spPr>
      </p:pic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FBD1CEA-3001-4F8A-9950-62F76A4127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FBD1CEA-3001-4F8A-9950-62F76A412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DFF0CCFE-019C-45D3-9FA1-D56B288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31405" y="809346"/>
            <a:ext cx="5243513" cy="853141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a-DK" sz="3200" b="1" dirty="0">
                <a:solidFill>
                  <a:schemeClr val="tx1"/>
                </a:solidFill>
                <a:latin typeface="COOP" panose="02010504010101010104" pitchFamily="2" charset="0"/>
              </a:rPr>
              <a:t>Stop Spild Lokalt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E97FA6F2-246A-44BE-99D3-85D84B5CCEC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1758" y="1760816"/>
            <a:ext cx="4582924" cy="4287838"/>
          </a:xfrm>
        </p:spPr>
        <p:txBody>
          <a:bodyPr/>
          <a:lstStyle/>
          <a:p>
            <a:pPr marL="0" indent="0">
              <a:buNone/>
            </a:pPr>
            <a:r>
              <a:rPr lang="da-DK" sz="1800" b="1" dirty="0">
                <a:latin typeface="COOP" panose="02010504010101010104" pitchFamily="2" charset="0"/>
              </a:rPr>
              <a:t>Rasmus Erichsen</a:t>
            </a:r>
          </a:p>
          <a:p>
            <a:pPr marL="0" indent="0">
              <a:buNone/>
            </a:pPr>
            <a:r>
              <a:rPr lang="da-DK" sz="1400" b="1" dirty="0">
                <a:latin typeface="COOP" panose="02010504010101010104" pitchFamily="2" charset="0"/>
              </a:rPr>
              <a:t>Stifter og direktør</a:t>
            </a:r>
          </a:p>
          <a:p>
            <a:pPr marL="0" indent="0">
              <a:buNone/>
            </a:pPr>
            <a:endParaRPr lang="da-DK" sz="1800" dirty="0">
              <a:latin typeface="COOP" panose="02010504010101010104" pitchFamily="2" charset="0"/>
            </a:endParaRPr>
          </a:p>
          <a:p>
            <a:pPr marL="0" indent="0">
              <a:buNone/>
            </a:pPr>
            <a: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EMAER</a:t>
            </a:r>
            <a:endParaRPr lang="da-DK" sz="1200" dirty="0">
              <a:latin typeface="COOP" panose="02010504010101010104" pitchFamily="2" charset="0"/>
            </a:endParaRPr>
          </a:p>
          <a:p>
            <a:r>
              <a:rPr lang="da-DK" sz="1200" dirty="0">
                <a:latin typeface="COOP" panose="02010504010101010104" pitchFamily="2" charset="0"/>
              </a:rPr>
              <a:t>Danmarks største madspildsorganisation drevet på frivillige kræfter</a:t>
            </a: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</a:rPr>
              <a:t>Hvordan er organisationen opbygget?</a:t>
            </a: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</a:rPr>
              <a:t>Hvad er organisationens foreløbige resultater og visioner for fremtiden?</a:t>
            </a:r>
          </a:p>
          <a:p>
            <a:r>
              <a:rPr lang="da-DK" sz="1200" dirty="0">
                <a:latin typeface="COOP" panose="02010504010101010104" pitchFamily="2" charset="0"/>
              </a:rPr>
              <a:t>Samarbejde med Coop lokalt og nationalt: </a:t>
            </a: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</a:rPr>
              <a:t>Hvad er største problematikker omkring </a:t>
            </a:r>
            <a:r>
              <a:rPr lang="da-DK" sz="1200">
                <a:latin typeface="COOP" panose="02010504010101010104" pitchFamily="2" charset="0"/>
              </a:rPr>
              <a:t>madspild?Hvad</a:t>
            </a:r>
            <a:r>
              <a:rPr lang="da-DK" sz="1200" dirty="0">
                <a:latin typeface="COOP" panose="02010504010101010104" pitchFamily="2" charset="0"/>
              </a:rPr>
              <a:t> kan vi i samarbejde gøre, uden det går udover forretningen?</a:t>
            </a:r>
          </a:p>
          <a:p>
            <a:pPr marL="457200" lvl="1" indent="0">
              <a:buNone/>
            </a:pPr>
            <a:endParaRPr lang="da-DK" sz="1400" dirty="0">
              <a:latin typeface="COOP" panose="02010504010101010104" pitchFamily="2" charset="0"/>
            </a:endParaRP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</a:rPr>
              <a:t>Kontakt</a:t>
            </a: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hlinkClick r:id="rId6"/>
              </a:rPr>
              <a:t>re@stopspildlokalt.dk</a:t>
            </a:r>
            <a:r>
              <a:rPr lang="da-DK" sz="1200" dirty="0">
                <a:latin typeface="COOP" panose="02010504010101010104" pitchFamily="2" charset="0"/>
              </a:rPr>
              <a:t> </a:t>
            </a:r>
          </a:p>
          <a:p>
            <a:pPr marL="0" indent="0">
              <a:buNone/>
            </a:pPr>
            <a:endParaRPr lang="da-DK" sz="1800" dirty="0">
              <a:latin typeface="COOP" panose="02010504010101010104" pitchFamily="2" charset="0"/>
            </a:endParaRPr>
          </a:p>
        </p:txBody>
      </p:sp>
      <p:pic>
        <p:nvPicPr>
          <p:cNvPr id="3" name="Billede 2">
            <a:extLst>
              <a:ext uri="{FF2B5EF4-FFF2-40B4-BE49-F238E27FC236}">
                <a16:creationId xmlns:a16="http://schemas.microsoft.com/office/drawing/2014/main" id="{C24BD1B7-B1E8-447F-A56E-D59F957A6EEF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04735" y="3560696"/>
            <a:ext cx="2372230" cy="23722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70767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B6B471D2-22BB-4C1E-BE4B-8F3479AA57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6882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B6B471D2-22BB-4C1E-BE4B-8F3479AA57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454D74E8-82C6-47AC-AFCC-0DDD505DF5B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95324" y="628651"/>
            <a:ext cx="10696926" cy="1997103"/>
          </a:xfrm>
        </p:spPr>
        <p:txBody>
          <a:bodyPr vert="horz">
            <a:normAutofit/>
          </a:bodyPr>
          <a:lstStyle/>
          <a:p>
            <a:pPr algn="ctr"/>
            <a:r>
              <a:rPr lang="da-DK" sz="5000" dirty="0"/>
              <a:t>Samarbejde med foreninger, fællesskaber &amp; institutioner 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61054B63-872B-41DE-AE25-2ABBAB0448C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95324" y="3254928"/>
            <a:ext cx="10696925" cy="2974422"/>
          </a:xfrm>
        </p:spPr>
        <p:txBody>
          <a:bodyPr>
            <a:normAutofit/>
          </a:bodyPr>
          <a:lstStyle/>
          <a:p>
            <a:pPr algn="ctr"/>
            <a:r>
              <a:rPr lang="da-DK" sz="1400" dirty="0"/>
              <a:t>Tænk gerne lokalsamfundet ind, når I skal holde årsmøde eller generalforsamling. Det tilfører både værdi og relevans at invitere lokale aktører med som gæstetalere. Sammen kan I vise, hvordan I bygger bro mellem butik og lokalsamfundet og komme bredt ud med fortællingen om medlemsindflydelse, demokrati og foreningsliv.</a:t>
            </a:r>
          </a:p>
          <a:p>
            <a:pPr algn="ctr"/>
            <a:endParaRPr lang="da-DK" sz="1400" dirty="0"/>
          </a:p>
          <a:p>
            <a:pPr algn="ctr"/>
            <a:r>
              <a:rPr lang="da-DK" sz="1400" dirty="0"/>
              <a:t>I kan invitere den lokale skole eller spejderforening, sportsklub eller kulturhus med og få en debat om fælles muligheder og samarbejdsflader. I kan også invitere lokale ildsjæle til at fortælle om, hvad de gør for lokalsamfundet og drøfte, hvad I sammen kan gøre.</a:t>
            </a:r>
          </a:p>
          <a:p>
            <a:endParaRPr lang="da-DK" sz="1400" b="1" dirty="0"/>
          </a:p>
          <a:p>
            <a:endParaRPr lang="da-DK" sz="1400" i="1" dirty="0"/>
          </a:p>
        </p:txBody>
      </p:sp>
    </p:spTree>
    <p:extLst>
      <p:ext uri="{BB962C8B-B14F-4D97-AF65-F5344CB8AC3E}">
        <p14:creationId xmlns:p14="http://schemas.microsoft.com/office/powerpoint/2010/main" val="130151229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19A601B1-4D3B-4EAD-AD5E-E43E57250D4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19A601B1-4D3B-4EAD-AD5E-E43E57250D4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A1A0773B-72D3-4DA0-B0C0-24993124BD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30350" y="564776"/>
            <a:ext cx="3531299" cy="1201272"/>
          </a:xfrm>
        </p:spPr>
        <p:txBody>
          <a:bodyPr>
            <a:normAutofit fontScale="90000"/>
          </a:bodyPr>
          <a:lstStyle/>
          <a:p>
            <a:pPr algn="ctr"/>
            <a:br>
              <a:rPr lang="da-DK" sz="4400" dirty="0">
                <a:solidFill>
                  <a:schemeClr val="tx1"/>
                </a:solidFill>
              </a:rPr>
            </a:br>
            <a:br>
              <a:rPr lang="da-DK" sz="4400" dirty="0">
                <a:solidFill>
                  <a:schemeClr val="tx1"/>
                </a:solidFill>
              </a:rPr>
            </a:br>
            <a:br>
              <a:rPr lang="da-DK" sz="4400" dirty="0">
                <a:solidFill>
                  <a:schemeClr val="tx1"/>
                </a:solidFill>
              </a:rPr>
            </a:br>
            <a:br>
              <a:rPr lang="da-DK" sz="4400" dirty="0">
                <a:solidFill>
                  <a:schemeClr val="tx1"/>
                </a:solidFill>
              </a:rPr>
            </a:br>
            <a:br>
              <a:rPr lang="da-DK" sz="4400" dirty="0">
                <a:solidFill>
                  <a:schemeClr val="tx1"/>
                </a:solidFill>
              </a:rPr>
            </a:br>
            <a:br>
              <a:rPr lang="da-DK" sz="4400" dirty="0">
                <a:solidFill>
                  <a:schemeClr val="tx1"/>
                </a:solidFill>
              </a:rPr>
            </a:br>
            <a:br>
              <a:rPr lang="da-DK" sz="4400" dirty="0">
                <a:solidFill>
                  <a:schemeClr val="tx1"/>
                </a:solidFill>
              </a:rPr>
            </a:br>
            <a:r>
              <a:rPr lang="da-DK" sz="3300" dirty="0">
                <a:solidFill>
                  <a:schemeClr val="tx1"/>
                </a:solidFill>
              </a:rPr>
              <a:t>GoCook</a:t>
            </a:r>
            <a:br>
              <a:rPr lang="da-DK" sz="4400" dirty="0">
                <a:solidFill>
                  <a:schemeClr val="tx1"/>
                </a:solidFill>
              </a:rPr>
            </a:br>
            <a:endParaRPr lang="da-DK" sz="4400" dirty="0">
              <a:solidFill>
                <a:schemeClr val="tx1"/>
              </a:solidFill>
            </a:endParaRPr>
          </a:p>
        </p:txBody>
      </p:sp>
      <p:sp>
        <p:nvSpPr>
          <p:cNvPr id="5" name="Undertitel 4">
            <a:extLst>
              <a:ext uri="{FF2B5EF4-FFF2-40B4-BE49-F238E27FC236}">
                <a16:creationId xmlns:a16="http://schemas.microsoft.com/office/drawing/2014/main" id="{3CA0CE7A-0F7B-4FBD-BC0C-12FBAE41890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51531" y="2272553"/>
            <a:ext cx="4598099" cy="2994211"/>
          </a:xfrm>
        </p:spPr>
        <p:txBody>
          <a:bodyPr>
            <a:normAutofit/>
          </a:bodyPr>
          <a:lstStyle/>
          <a:p>
            <a:pPr algn="ctr"/>
            <a:r>
              <a:rPr lang="da-DK" sz="1200" dirty="0">
                <a:solidFill>
                  <a:schemeClr val="tx1"/>
                </a:solidFill>
                <a:latin typeface="COOP" panose="02010504010101010104" pitchFamily="2" charset="0"/>
              </a:rPr>
              <a:t>Coops butikker deler i efteråret 2024 igen Smagekasser ud til over 150.000 skolebørn over hele landet. </a:t>
            </a:r>
          </a:p>
          <a:p>
            <a:pPr algn="ctr"/>
            <a:r>
              <a:rPr lang="da-DK" sz="1200" dirty="0">
                <a:solidFill>
                  <a:schemeClr val="tx1"/>
                </a:solidFill>
                <a:latin typeface="COOP" panose="02010504010101010104" pitchFamily="2" charset="0"/>
              </a:rPr>
              <a:t>Du kan invitere din lokale skole med til årsmødet/generalforsamlingen, hvor de kan fortælle om samarbejdet og erfaringerne med at koble mad, børn, skoler og Coop.</a:t>
            </a:r>
          </a:p>
          <a:p>
            <a:pPr algn="ctr"/>
            <a:endParaRPr lang="da-DK" sz="1200" dirty="0">
              <a:solidFill>
                <a:schemeClr val="tx1"/>
              </a:solidFill>
              <a:latin typeface="COOP" panose="02010504010101010104" pitchFamily="2" charset="0"/>
            </a:endParaRPr>
          </a:p>
          <a:p>
            <a:pPr algn="ctr"/>
            <a:r>
              <a:rPr lang="da-DK" sz="1200" dirty="0">
                <a:solidFill>
                  <a:schemeClr val="tx1"/>
                </a:solidFill>
                <a:latin typeface="COOP" panose="02010504010101010104" pitchFamily="2" charset="0"/>
              </a:rPr>
              <a:t>Kontakt din lokale skole for at få kontaktoplysninger på den lærer, der sidder med GoCook-indsatsen.</a:t>
            </a:r>
          </a:p>
          <a:p>
            <a:pPr algn="ctr"/>
            <a:endParaRPr lang="da-DK" sz="1200" dirty="0">
              <a:solidFill>
                <a:schemeClr val="tx1"/>
              </a:solidFill>
              <a:latin typeface="COOP" panose="02010504010101010104" pitchFamily="2" charset="0"/>
            </a:endParaRPr>
          </a:p>
          <a:p>
            <a:pPr algn="ctr"/>
            <a:r>
              <a:rPr lang="da-DK" sz="1200" dirty="0">
                <a:solidFill>
                  <a:schemeClr val="tx1"/>
                </a:solidFill>
                <a:latin typeface="COOP" panose="02010504010101010104" pitchFamily="2" charset="0"/>
              </a:rPr>
              <a:t>Du er også velkomment til at kontakte Bente Svane Nielsen, projektchef for GoCook på </a:t>
            </a:r>
            <a:r>
              <a:rPr lang="da-DK" sz="1200" dirty="0">
                <a:solidFill>
                  <a:schemeClr val="tx1"/>
                </a:solidFill>
                <a:latin typeface="COOP" panose="02010504010101010104" pitchFamily="2" charset="0"/>
                <a:hlinkClick r:id="rId5"/>
              </a:rPr>
              <a:t>bente.svane.nielsen@coop.dk</a:t>
            </a:r>
            <a:r>
              <a:rPr lang="da-DK" sz="1200" dirty="0">
                <a:solidFill>
                  <a:schemeClr val="tx1"/>
                </a:solidFill>
                <a:latin typeface="COOP" panose="02010504010101010104" pitchFamily="2" charset="0"/>
              </a:rPr>
              <a:t> </a:t>
            </a:r>
          </a:p>
        </p:txBody>
      </p:sp>
      <p:pic>
        <p:nvPicPr>
          <p:cNvPr id="3" name="Billede 2" descr="Et billede, der indeholder person, lille&#10;&#10;Automatisk genereret beskrivelse">
            <a:extLst>
              <a:ext uri="{FF2B5EF4-FFF2-40B4-BE49-F238E27FC236}">
                <a16:creationId xmlns:a16="http://schemas.microsoft.com/office/drawing/2014/main" id="{6B4CD4D2-03BD-4446-9D23-2616FA92C42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98301" y="2022150"/>
            <a:ext cx="4866922" cy="32446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0279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FBD1CEA-3001-4F8A-9950-62F76A4127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FBD1CEA-3001-4F8A-9950-62F76A412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DFF0CCFE-019C-45D3-9FA1-D56B288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045" y="809346"/>
            <a:ext cx="10797708" cy="853141"/>
          </a:xfrm>
        </p:spPr>
        <p:txBody>
          <a:bodyPr>
            <a:normAutofit/>
          </a:bodyPr>
          <a:lstStyle/>
          <a:p>
            <a:pPr algn="ctr"/>
            <a:r>
              <a:rPr lang="da-DK" sz="3300" dirty="0">
                <a:solidFill>
                  <a:schemeClr val="tx1"/>
                </a:solidFill>
              </a:rPr>
              <a:t>Foreningen Coop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E97FA6F2-246A-44BE-99D3-85D84B5CCEC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827520" y="2047688"/>
            <a:ext cx="4654476" cy="4287838"/>
          </a:xfrm>
        </p:spPr>
        <p:txBody>
          <a:bodyPr/>
          <a:lstStyle/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8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ike Dranov</a:t>
            </a:r>
          </a:p>
          <a:p>
            <a:pPr marL="0" indent="0">
              <a:buNone/>
            </a:pPr>
            <a:r>
              <a:rPr lang="da-DK" sz="14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foreningsdirektør Coop amba</a:t>
            </a:r>
          </a:p>
          <a:p>
            <a:pPr marL="0" indent="0">
              <a:buNone/>
            </a:pPr>
            <a:endParaRPr lang="da-DK" sz="14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EMAER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Stærke lokale fællesskaber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Andelsbevægelsen version 2.0 – fra tænketank til folketing</a:t>
            </a: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Kontakt</a:t>
            </a: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ike.dranov@coop.dk</a:t>
            </a: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</a:endParaRPr>
          </a:p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a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800" dirty="0">
              <a:latin typeface="COOP" panose="02010504010101010104" pitchFamily="2" charset="0"/>
            </a:endParaRPr>
          </a:p>
        </p:txBody>
      </p:sp>
      <p:pic>
        <p:nvPicPr>
          <p:cNvPr id="8" name="Billede 7" descr="Et billede, der indeholder person, mand&#10;&#10;Automatisk genereret beskrivelse">
            <a:extLst>
              <a:ext uri="{FF2B5EF4-FFF2-40B4-BE49-F238E27FC236}">
                <a16:creationId xmlns:a16="http://schemas.microsoft.com/office/drawing/2014/main" id="{F645BB84-D9F3-4E17-92F4-B3E10F8EC8B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61093" y="2389990"/>
            <a:ext cx="3532806" cy="23590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42803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FBD1CEA-3001-4F8A-9950-62F76A4127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FBD1CEA-3001-4F8A-9950-62F76A412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DFF0CCFE-019C-45D3-9FA1-D56B288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045" y="809346"/>
            <a:ext cx="10797708" cy="853141"/>
          </a:xfrm>
        </p:spPr>
        <p:txBody>
          <a:bodyPr>
            <a:normAutofit/>
          </a:bodyPr>
          <a:lstStyle/>
          <a:p>
            <a:pPr algn="ctr"/>
            <a:r>
              <a:rPr lang="da-DK" sz="3300" dirty="0">
                <a:solidFill>
                  <a:schemeClr val="tx1"/>
                </a:solidFill>
              </a:rPr>
              <a:t>Foreningen Coop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E97FA6F2-246A-44BE-99D3-85D84B5CCEC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05106" y="2047688"/>
            <a:ext cx="5176889" cy="4287838"/>
          </a:xfrm>
        </p:spPr>
        <p:txBody>
          <a:bodyPr/>
          <a:lstStyle/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8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Malene Brandt</a:t>
            </a:r>
          </a:p>
          <a:p>
            <a:pPr marL="0" indent="0">
              <a:buNone/>
            </a:pPr>
            <a:r>
              <a:rPr lang="da-DK" sz="1400" b="1" dirty="0" err="1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Sekretariatchef</a:t>
            </a:r>
            <a:r>
              <a:rPr lang="da-DK" sz="14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 Coop amba</a:t>
            </a:r>
          </a:p>
          <a:p>
            <a:pPr marL="0" indent="0">
              <a:buNone/>
            </a:pPr>
            <a:endParaRPr lang="da-DK" sz="14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EMAER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Stærke lokale fællesskaber – hvad, hvordan og hvorfor?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Tendenser i frivilligheden – hvad gør en forening attraktiv for frivillige?</a:t>
            </a: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Kontakt</a:t>
            </a: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malene.brandt@coop.dk</a:t>
            </a: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</a:endParaRPr>
          </a:p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a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800" dirty="0">
              <a:latin typeface="COOP" panose="02010504010101010104" pitchFamily="2" charset="0"/>
            </a:endParaRPr>
          </a:p>
        </p:txBody>
      </p:sp>
      <p:pic>
        <p:nvPicPr>
          <p:cNvPr id="3" name="Billede 2" descr="Et billede, der indeholder tøj, person, Ansigt, indendørs&#10;&#10;Automatisk genereret beskrivelse">
            <a:extLst>
              <a:ext uri="{FF2B5EF4-FFF2-40B4-BE49-F238E27FC236}">
                <a16:creationId xmlns:a16="http://schemas.microsoft.com/office/drawing/2014/main" id="{49683E84-3C86-D5DD-9929-A9503D4F406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10005" y="2212848"/>
            <a:ext cx="5162913" cy="29014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542376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FBD1CEA-3001-4F8A-9950-62F76A4127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FBD1CEA-3001-4F8A-9950-62F76A412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DFF0CCFE-019C-45D3-9FA1-D56B288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045" y="809346"/>
            <a:ext cx="10797708" cy="853141"/>
          </a:xfrm>
        </p:spPr>
        <p:txBody>
          <a:bodyPr>
            <a:normAutofit/>
          </a:bodyPr>
          <a:lstStyle/>
          <a:p>
            <a:pPr algn="ctr"/>
            <a:r>
              <a:rPr lang="da-DK" sz="3300" dirty="0">
                <a:solidFill>
                  <a:schemeClr val="tx1"/>
                </a:solidFill>
              </a:rPr>
              <a:t>Andelsskolen 2.0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E97FA6F2-246A-44BE-99D3-85D84B5CCEC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369933" y="1760816"/>
            <a:ext cx="3801036" cy="4287838"/>
          </a:xfrm>
        </p:spPr>
        <p:txBody>
          <a:bodyPr/>
          <a:lstStyle/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8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laus Ljungdahl</a:t>
            </a:r>
          </a:p>
          <a:p>
            <a:pPr marL="0" indent="0">
              <a:buNone/>
            </a:pPr>
            <a:r>
              <a:rPr lang="da-DK" sz="14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Chef for Andelsskolen</a:t>
            </a:r>
          </a:p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EMA</a:t>
            </a:r>
            <a:endParaRPr lang="da-DK" sz="14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Coops historie og værdier</a:t>
            </a: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Kontakt</a:t>
            </a: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  <a:hlinkClick r:id="rId5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laus.ljungdahl@coop.dk</a:t>
            </a: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</a:endParaRPr>
          </a:p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lnSpc>
                <a:spcPct val="107000"/>
              </a:lnSpc>
              <a:spcAft>
                <a:spcPts val="800"/>
              </a:spcAft>
              <a:buNone/>
            </a:pPr>
            <a:endParaRPr lang="da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800" dirty="0">
              <a:latin typeface="COOP" panose="02010504010101010104" pitchFamily="2" charset="0"/>
            </a:endParaRPr>
          </a:p>
        </p:txBody>
      </p:sp>
      <p:pic>
        <p:nvPicPr>
          <p:cNvPr id="9" name="Billede 8">
            <a:extLst>
              <a:ext uri="{FF2B5EF4-FFF2-40B4-BE49-F238E27FC236}">
                <a16:creationId xmlns:a16="http://schemas.microsoft.com/office/drawing/2014/main" id="{80F55B77-BDD5-4400-9A37-1D48D356084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093899" y="1662487"/>
            <a:ext cx="2664619" cy="3996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17137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FBD1CEA-3001-4F8A-9950-62F76A4127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FBD1CEA-3001-4F8A-9950-62F76A412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DFF0CCFE-019C-45D3-9FA1-D56B288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045" y="809346"/>
            <a:ext cx="10797708" cy="853141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da-DK" sz="3600" b="1" dirty="0">
                <a:solidFill>
                  <a:schemeClr val="tx1"/>
                </a:solidFill>
              </a:rPr>
              <a:t>Coop Crowdfunding</a:t>
            </a:r>
            <a:endParaRPr lang="da-DK" sz="2400" dirty="0">
              <a:solidFill>
                <a:schemeClr val="tx1"/>
              </a:solidFill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E97FA6F2-246A-44BE-99D3-85D84B5CCEC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1344706" y="1662487"/>
            <a:ext cx="4258235" cy="4574427"/>
          </a:xfrm>
        </p:spPr>
        <p:txBody>
          <a:bodyPr/>
          <a:lstStyle/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8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Josefina Estrada</a:t>
            </a:r>
          </a:p>
          <a:p>
            <a:pPr marL="0" indent="0">
              <a:buNone/>
            </a:pPr>
            <a:r>
              <a:rPr lang="da-DK" sz="14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Kommunikationsansvarlig</a:t>
            </a:r>
          </a:p>
          <a:p>
            <a:pPr marL="0" indent="0">
              <a:buNone/>
            </a:pPr>
            <a:endParaRPr lang="da-DK" sz="14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EMAER</a:t>
            </a:r>
            <a:endParaRPr lang="da-DK" sz="1200" u="sng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Få indflydelse på de produkter, vi har på hylderne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Støt op om naturen og klimaet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Investér i dit lokalsamfund – og få et afkast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Skub på den grønne omstilling</a:t>
            </a:r>
          </a:p>
          <a:p>
            <a:r>
              <a:rPr lang="da-DK" sz="1200" dirty="0">
                <a:latin typeface="COOP" panose="02010504010101010104" pitchFamily="2" charset="0"/>
                <a:cs typeface="Calibri" panose="020F0502020204030204" pitchFamily="34" charset="0"/>
              </a:rPr>
              <a:t>Du har en stemme som forbruger – brug den</a:t>
            </a: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Kontakt</a:t>
            </a: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  <a:hlinkClick r:id="rId5"/>
              </a:rPr>
              <a:t>josefina.estrada@coop.dk</a:t>
            </a:r>
            <a:r>
              <a:rPr lang="da-DK" sz="1200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a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800" dirty="0">
              <a:latin typeface="COOP" panose="02010504010101010104" pitchFamily="2" charset="0"/>
            </a:endParaRPr>
          </a:p>
        </p:txBody>
      </p:sp>
      <p:pic>
        <p:nvPicPr>
          <p:cNvPr id="8" name="Billede 7" descr="Et billede, der indeholder person, indendørs, væg&#10;&#10;Automatisk genereret beskrivelse">
            <a:extLst>
              <a:ext uri="{FF2B5EF4-FFF2-40B4-BE49-F238E27FC236}">
                <a16:creationId xmlns:a16="http://schemas.microsoft.com/office/drawing/2014/main" id="{2748D548-E33B-46A9-BA1D-C23463858EF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3899" y="2051294"/>
            <a:ext cx="2510118" cy="31376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480943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BFBD1CEA-3001-4F8A-9950-62F76A41271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BFBD1CEA-3001-4F8A-9950-62F76A4127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DFF0CCFE-019C-45D3-9FA1-D56B2885A0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5045" y="809346"/>
            <a:ext cx="10797708" cy="853141"/>
          </a:xfrm>
        </p:spPr>
        <p:txBody>
          <a:bodyPr>
            <a:normAutofit/>
          </a:bodyPr>
          <a:lstStyle/>
          <a:p>
            <a:pPr algn="ctr"/>
            <a:r>
              <a:rPr lang="da-DK" sz="3300" dirty="0">
                <a:solidFill>
                  <a:schemeClr val="tx1"/>
                </a:solidFill>
              </a:rPr>
              <a:t>Samvirke</a:t>
            </a:r>
            <a:endParaRPr lang="da-DK" dirty="0">
              <a:solidFill>
                <a:schemeClr val="tx1"/>
              </a:solidFill>
            </a:endParaRP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E97FA6F2-246A-44BE-99D3-85D84B5CCECE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482399" y="1339702"/>
            <a:ext cx="4982890" cy="4639674"/>
          </a:xfrm>
        </p:spPr>
        <p:txBody>
          <a:bodyPr/>
          <a:lstStyle/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r>
              <a:rPr lang="da-DK" sz="1800" b="1" dirty="0">
                <a:solidFill>
                  <a:schemeClr val="tx1"/>
                </a:solidFill>
              </a:rPr>
              <a:t>Pia Thorsen</a:t>
            </a:r>
            <a:br>
              <a:rPr lang="da-DK" sz="1800" b="1" dirty="0">
                <a:solidFill>
                  <a:schemeClr val="tx1"/>
                </a:solidFill>
              </a:rPr>
            </a:br>
            <a:r>
              <a:rPr lang="da-DK" sz="1400" b="1" dirty="0">
                <a:solidFill>
                  <a:schemeClr val="tx1"/>
                </a:solidFill>
              </a:rPr>
              <a:t>Redaktionschef</a:t>
            </a:r>
            <a:endParaRPr lang="da-DK" sz="1400" b="1" dirty="0"/>
          </a:p>
          <a:p>
            <a:pPr marL="0" indent="0">
              <a:buNone/>
            </a:pPr>
            <a:r>
              <a:rPr lang="da-DK" sz="1800" b="1" dirty="0"/>
              <a:t>Eva Guld Klausen</a:t>
            </a:r>
            <a:br>
              <a:rPr lang="da-DK" sz="1200" b="1" dirty="0"/>
            </a:br>
            <a:r>
              <a:rPr lang="da-DK" sz="1400" b="1" dirty="0"/>
              <a:t>Journalist og instagram redaktør</a:t>
            </a:r>
          </a:p>
          <a:p>
            <a:pPr marL="0" indent="0">
              <a:buNone/>
            </a:pPr>
            <a:endParaRPr lang="da-DK" sz="1400" b="1" dirty="0"/>
          </a:p>
          <a:p>
            <a:pPr marL="0" indent="0">
              <a:buNone/>
            </a:pPr>
            <a:r>
              <a:rPr lang="da-DK" sz="1400" b="1" dirty="0">
                <a:latin typeface="COOP" panose="02010504010101010104" pitchFamily="2" charset="0"/>
                <a:ea typeface="Calibri" panose="020F0502020204030204" pitchFamily="34" charset="0"/>
                <a:cs typeface="Times New Roman" panose="02020603050405020304" pitchFamily="18" charset="0"/>
              </a:rPr>
              <a:t>TEMAER</a:t>
            </a:r>
            <a:endParaRPr lang="da-DK" sz="1200" b="1" dirty="0"/>
          </a:p>
          <a:p>
            <a:r>
              <a:rPr lang="da-DK" sz="1200" dirty="0">
                <a:ea typeface="Calibri" panose="020F0502020204030204" pitchFamily="34" charset="0"/>
              </a:rPr>
              <a:t>Hvilke emner skal Samvirke tage op? </a:t>
            </a:r>
          </a:p>
          <a:p>
            <a:r>
              <a:rPr lang="da-DK" sz="1200" dirty="0">
                <a:ea typeface="Calibri" panose="020F0502020204030204" pitchFamily="34" charset="0"/>
              </a:rPr>
              <a:t>Er du som forbruger og medlem optaget af madspild, emballage, dyrevelfærd eller andet, som Samvirke også bør interessere sig for, så kan du være med til at præge redaktionens arbejde</a:t>
            </a:r>
          </a:p>
          <a:p>
            <a:r>
              <a:rPr lang="da-DK" sz="1200" dirty="0">
                <a:ea typeface="Calibri" panose="020F0502020204030204" pitchFamily="34" charset="0"/>
              </a:rPr>
              <a:t>Hvordan arbejder redaktionen fra idé til færdige historier på web, sociale medier og i magasin?</a:t>
            </a:r>
          </a:p>
          <a:p>
            <a:pPr marL="0" indent="0">
              <a:buNone/>
            </a:pPr>
            <a:endParaRPr lang="da-DK" sz="1200" dirty="0">
              <a:effectLst/>
              <a:ea typeface="Calibri" panose="020F0502020204030204" pitchFamily="34" charset="0"/>
            </a:endParaRPr>
          </a:p>
          <a:p>
            <a:pPr marL="0" indent="0">
              <a:buNone/>
            </a:pPr>
            <a:r>
              <a:rPr lang="da-DK" sz="1200" dirty="0">
                <a:effectLst/>
                <a:ea typeface="Calibri" panose="020F0502020204030204" pitchFamily="34" charset="0"/>
              </a:rPr>
              <a:t>Kontakt</a:t>
            </a:r>
          </a:p>
          <a:p>
            <a:pPr marL="0" indent="0">
              <a:buNone/>
            </a:pPr>
            <a:r>
              <a:rPr lang="da-DK" sz="1200" dirty="0">
                <a:effectLst/>
                <a:ea typeface="Calibri" panose="020F0502020204030204" pitchFamily="34" charset="0"/>
                <a:hlinkClick r:id="rId5"/>
              </a:rPr>
              <a:t>eva.guld.klausen@coop.dk</a:t>
            </a:r>
            <a:r>
              <a:rPr lang="da-DK" sz="1200" dirty="0">
                <a:ea typeface="Calibri" panose="020F0502020204030204" pitchFamily="34" charset="0"/>
              </a:rPr>
              <a:t> </a:t>
            </a:r>
            <a:br>
              <a:rPr lang="da-DK" sz="1200" dirty="0">
                <a:ea typeface="Calibri" panose="020F0502020204030204" pitchFamily="34" charset="0"/>
              </a:rPr>
            </a:br>
            <a:r>
              <a:rPr lang="da-DK" sz="1200" dirty="0">
                <a:ea typeface="Calibri" panose="020F0502020204030204" pitchFamily="34" charset="0"/>
                <a:hlinkClick r:id="rId6"/>
              </a:rPr>
              <a:t>p</a:t>
            </a:r>
            <a:r>
              <a:rPr lang="da-DK" sz="1200" dirty="0">
                <a:effectLst/>
                <a:ea typeface="Calibri" panose="020F0502020204030204" pitchFamily="34" charset="0"/>
                <a:hlinkClick r:id="rId6"/>
              </a:rPr>
              <a:t>ia.thorsen.jacobsen@coop.dk</a:t>
            </a:r>
            <a:r>
              <a:rPr lang="da-DK" sz="1200" dirty="0">
                <a:effectLst/>
                <a:ea typeface="Calibri" panose="020F0502020204030204" pitchFamily="34" charset="0"/>
              </a:rPr>
              <a:t> </a:t>
            </a:r>
          </a:p>
          <a:p>
            <a:pPr marL="0" indent="0">
              <a:buNone/>
            </a:pPr>
            <a:br>
              <a:rPr lang="da-DK" sz="1200" dirty="0">
                <a:ea typeface="Calibri" panose="020F0502020204030204" pitchFamily="34" charset="0"/>
              </a:rPr>
            </a:br>
            <a:endParaRPr lang="da-DK" sz="1200" dirty="0"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da-DK" sz="1200" dirty="0">
              <a:effectLst/>
              <a:ea typeface="Calibri" panose="020F0502020204030204" pitchFamily="34" charset="0"/>
            </a:endParaRPr>
          </a:p>
          <a:p>
            <a:pPr marL="0" indent="0">
              <a:buNone/>
            </a:pPr>
            <a:endParaRPr lang="da-DK" sz="1200" dirty="0">
              <a:latin typeface="COOP" panose="02010504010101010104" pitchFamily="2" charset="0"/>
            </a:endParaRPr>
          </a:p>
          <a:p>
            <a:pPr marL="0" indent="0">
              <a:buNone/>
            </a:pPr>
            <a:endParaRPr lang="da-DK" sz="1200" b="1" dirty="0">
              <a:latin typeface="COOP" panose="02010504010101010104" pitchFamily="2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>
              <a:lnSpc>
                <a:spcPct val="107000"/>
              </a:lnSpc>
              <a:spcAft>
                <a:spcPts val="800"/>
              </a:spcAft>
            </a:pPr>
            <a:endParaRPr lang="da-DK" sz="1800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0" indent="0">
              <a:buNone/>
            </a:pPr>
            <a:endParaRPr lang="da-DK" sz="1800" dirty="0">
              <a:latin typeface="COOP" panose="02010504010101010104" pitchFamily="2" charset="0"/>
            </a:endParaRP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FA847748-979E-4FE6-BDD2-714BDAFAECAC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65395" y="5183186"/>
            <a:ext cx="3341689" cy="638369"/>
          </a:xfrm>
          <a:prstGeom prst="rect">
            <a:avLst/>
          </a:prstGeom>
        </p:spPr>
      </p:pic>
      <p:pic>
        <p:nvPicPr>
          <p:cNvPr id="3" name="Billede 2" descr="Et billede, der indeholder Ansigt, tøj, smil, mur&#10;&#10;Automatisk genereret beskrivelse">
            <a:extLst>
              <a:ext uri="{FF2B5EF4-FFF2-40B4-BE49-F238E27FC236}">
                <a16:creationId xmlns:a16="http://schemas.microsoft.com/office/drawing/2014/main" id="{AF742345-0A48-A49A-ADFA-611F6A2E2ED2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69341" y="3252599"/>
            <a:ext cx="2624558" cy="1749705"/>
          </a:xfrm>
          <a:prstGeom prst="rect">
            <a:avLst/>
          </a:prstGeom>
        </p:spPr>
      </p:pic>
      <p:pic>
        <p:nvPicPr>
          <p:cNvPr id="9" name="Billede 8" descr="Et billede, der indeholder tøj, person, top, sweater&#10;&#10;Automatisk genereret beskrivelse">
            <a:extLst>
              <a:ext uri="{FF2B5EF4-FFF2-40B4-BE49-F238E27FC236}">
                <a16:creationId xmlns:a16="http://schemas.microsoft.com/office/drawing/2014/main" id="{75A1698E-7985-3766-8B2D-E0AFEBE2FD87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8502" y="1843369"/>
            <a:ext cx="2105759" cy="31589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470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op billeder">
  <a:themeElements>
    <a:clrScheme name="COOP">
      <a:dk1>
        <a:srgbClr val="000000"/>
      </a:dk1>
      <a:lt1>
        <a:srgbClr val="FFFFFF"/>
      </a:lt1>
      <a:dk2>
        <a:srgbClr val="C31414"/>
      </a:dk2>
      <a:lt2>
        <a:srgbClr val="FFFFFF"/>
      </a:lt2>
      <a:accent1>
        <a:srgbClr val="C31414"/>
      </a:accent1>
      <a:accent2>
        <a:srgbClr val="8B1419"/>
      </a:accent2>
      <a:accent3>
        <a:srgbClr val="000000"/>
      </a:accent3>
      <a:accent4>
        <a:srgbClr val="636363"/>
      </a:accent4>
      <a:accent5>
        <a:srgbClr val="BABABA"/>
      </a:accent5>
      <a:accent6>
        <a:srgbClr val="EBEBEB"/>
      </a:accent6>
      <a:hlink>
        <a:srgbClr val="000000"/>
      </a:hlink>
      <a:folHlink>
        <a:srgbClr val="000000"/>
      </a:folHlink>
    </a:clrScheme>
    <a:fontScheme name="COOP">
      <a:majorFont>
        <a:latin typeface="COOP"/>
        <a:ea typeface=""/>
        <a:cs typeface=""/>
      </a:majorFont>
      <a:minorFont>
        <a:latin typeface="COOP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sz="1300" dirty="0" smtClean="0">
            <a:latin typeface="+mj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oop 2019 PPT (1)_ex (1)" id="{3A1602C2-14F6-4B0D-8D62-0C08D0C81342}" vid="{87ACD6EB-0DAA-454E-8870-7843DDEBE975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Coop 2019 PPT (1)_ex (1)</Template>
  <TotalTime>30897</TotalTime>
  <Words>1315</Words>
  <Application>Microsoft Office PowerPoint</Application>
  <PresentationFormat>Widescreen</PresentationFormat>
  <Paragraphs>292</Paragraphs>
  <Slides>23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4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23</vt:i4>
      </vt:variant>
    </vt:vector>
  </HeadingPairs>
  <TitlesOfParts>
    <vt:vector size="29" baseType="lpstr">
      <vt:lpstr>COOP Light</vt:lpstr>
      <vt:lpstr>COOP</vt:lpstr>
      <vt:lpstr>Calibri</vt:lpstr>
      <vt:lpstr>Arial</vt:lpstr>
      <vt:lpstr>Coop billeder</vt:lpstr>
      <vt:lpstr>think-cell Slide</vt:lpstr>
      <vt:lpstr>Demokratiugen 2024</vt:lpstr>
      <vt:lpstr>Katalog over interne og eksterne oplægsholdere</vt:lpstr>
      <vt:lpstr>Samarbejde med foreninger, fællesskaber &amp; institutioner </vt:lpstr>
      <vt:lpstr>       GoCook </vt:lpstr>
      <vt:lpstr>Foreningen Coop</vt:lpstr>
      <vt:lpstr>Foreningen Coop</vt:lpstr>
      <vt:lpstr>Andelsskolen 2.0</vt:lpstr>
      <vt:lpstr>Coop Crowdfunding</vt:lpstr>
      <vt:lpstr>Samvirke</vt:lpstr>
      <vt:lpstr>Ansvarlighed</vt:lpstr>
      <vt:lpstr>Coop Energi</vt:lpstr>
      <vt:lpstr>Coop Energi</vt:lpstr>
      <vt:lpstr>HR &amp; Ungeagendaen i Coop    </vt:lpstr>
      <vt:lpstr>Coop ambas bestyrelse   </vt:lpstr>
      <vt:lpstr>Coop ambas bestyrelse</vt:lpstr>
      <vt:lpstr>Coop ambas bestyrelse   </vt:lpstr>
      <vt:lpstr>Coop ambas bestyrelse</vt:lpstr>
      <vt:lpstr>Coop ambas bestyrelse</vt:lpstr>
      <vt:lpstr>Coop ambas bestyrelse</vt:lpstr>
      <vt:lpstr>Coop ambas og Coop Danmarks bestyrelse</vt:lpstr>
      <vt:lpstr>Coop ambas og Coop Danmarks bestyrelse</vt:lpstr>
      <vt:lpstr>Tænketanken Demokratisk Erhverv &amp; TalentLAB</vt:lpstr>
      <vt:lpstr>Stop Spild Lokal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ællesugen uge 17 - 2022</dc:title>
  <dc:creator>Rasmussen, Ole Bach</dc:creator>
  <cp:lastModifiedBy>Kofoed, Michala</cp:lastModifiedBy>
  <cp:revision>107</cp:revision>
  <dcterms:created xsi:type="dcterms:W3CDTF">2022-01-10T13:31:10Z</dcterms:created>
  <dcterms:modified xsi:type="dcterms:W3CDTF">2024-03-05T10:32:44Z</dcterms:modified>
</cp:coreProperties>
</file>